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4" r:id="rId4"/>
  </p:sldMasterIdLst>
  <p:notesMasterIdLst>
    <p:notesMasterId r:id="rId10"/>
  </p:notesMasterIdLst>
  <p:sldIdLst>
    <p:sldId id="2147474687" r:id="rId5"/>
    <p:sldId id="285" r:id="rId6"/>
    <p:sldId id="2147474677" r:id="rId7"/>
    <p:sldId id="292" r:id="rId8"/>
    <p:sldId id="295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Yoma Omale" initials="YO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233A1"/>
    <a:srgbClr val="D8117D"/>
    <a:srgbClr val="3E1458"/>
    <a:srgbClr val="DC6C29"/>
    <a:srgbClr val="DA202A"/>
    <a:srgbClr val="F2F2F2"/>
    <a:srgbClr val="10253F"/>
    <a:srgbClr val="F6AEBA"/>
    <a:srgbClr val="DA0233"/>
    <a:srgbClr val="0892C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975" autoAdjust="0"/>
    <p:restoredTop sz="93792" autoAdjust="0"/>
  </p:normalViewPr>
  <p:slideViewPr>
    <p:cSldViewPr snapToGrid="0">
      <p:cViewPr varScale="1">
        <p:scale>
          <a:sx n="113" d="100"/>
          <a:sy n="113" d="100"/>
        </p:scale>
        <p:origin x="396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407526C-8198-4372-87D3-3E33742AA0E9}" type="datetimeFigureOut">
              <a:rPr lang="en-GB" smtClean="0"/>
              <a:t>11/04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32238DA-63C1-47C5-9F15-ED90671144E1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539726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1" cy="34535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244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23788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546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1756628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68548" y="224056"/>
            <a:ext cx="8609878" cy="345351"/>
          </a:xfrm>
        </p:spPr>
        <p:txBody>
          <a:bodyPr lIns="0" tIns="0" rIns="0" bIns="0"/>
          <a:lstStyle>
            <a:lvl1pPr>
              <a:defRPr sz="2244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561066" y="1319077"/>
            <a:ext cx="6032460" cy="237886"/>
          </a:xfrm>
        </p:spPr>
        <p:txBody>
          <a:bodyPr lIns="0" tIns="0" rIns="0" bIns="0"/>
          <a:lstStyle>
            <a:lvl1pPr>
              <a:defRPr sz="1546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852606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68548" y="224056"/>
            <a:ext cx="8609878" cy="345351"/>
          </a:xfrm>
        </p:spPr>
        <p:txBody>
          <a:bodyPr lIns="0" tIns="0" rIns="0" bIns="0"/>
          <a:lstStyle>
            <a:lvl1pPr>
              <a:defRPr sz="2244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3924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80" y="1577340"/>
            <a:ext cx="5303520" cy="3924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1/2024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2202430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0075" cy="6857615"/>
          </a:xfrm>
          <a:custGeom>
            <a:avLst/>
            <a:gdLst/>
            <a:ahLst/>
            <a:cxnLst/>
            <a:rect l="l" t="t" r="r" b="b"/>
            <a:pathLst>
              <a:path w="20100925" h="11308715">
                <a:moveTo>
                  <a:pt x="20100812" y="0"/>
                </a:moveTo>
                <a:lnTo>
                  <a:pt x="0" y="0"/>
                </a:lnTo>
                <a:lnTo>
                  <a:pt x="0" y="11308556"/>
                </a:lnTo>
                <a:lnTo>
                  <a:pt x="20100812" y="11308556"/>
                </a:lnTo>
                <a:lnTo>
                  <a:pt x="20100812" y="0"/>
                </a:lnTo>
                <a:close/>
              </a:path>
            </a:pathLst>
          </a:custGeom>
          <a:solidFill>
            <a:srgbClr val="DA202A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7" name="bg object 17"/>
          <p:cNvSpPr/>
          <p:nvPr/>
        </p:nvSpPr>
        <p:spPr>
          <a:xfrm>
            <a:off x="8662651" y="3173313"/>
            <a:ext cx="3527439" cy="3684298"/>
          </a:xfrm>
          <a:custGeom>
            <a:avLst/>
            <a:gdLst/>
            <a:ahLst/>
            <a:cxnLst/>
            <a:rect l="l" t="t" r="r" b="b"/>
            <a:pathLst>
              <a:path w="5816600" h="6075680">
                <a:moveTo>
                  <a:pt x="3897134" y="487527"/>
                </a:moveTo>
                <a:lnTo>
                  <a:pt x="3821150" y="436727"/>
                </a:lnTo>
                <a:lnTo>
                  <a:pt x="3782491" y="411327"/>
                </a:lnTo>
                <a:lnTo>
                  <a:pt x="3756418" y="385927"/>
                </a:lnTo>
                <a:lnTo>
                  <a:pt x="3743375" y="373227"/>
                </a:lnTo>
                <a:lnTo>
                  <a:pt x="3703853" y="347827"/>
                </a:lnTo>
                <a:lnTo>
                  <a:pt x="3663912" y="335127"/>
                </a:lnTo>
                <a:lnTo>
                  <a:pt x="3541776" y="258927"/>
                </a:lnTo>
                <a:lnTo>
                  <a:pt x="3500336" y="246227"/>
                </a:lnTo>
                <a:lnTo>
                  <a:pt x="3416452" y="195427"/>
                </a:lnTo>
                <a:lnTo>
                  <a:pt x="3331299" y="170027"/>
                </a:lnTo>
                <a:lnTo>
                  <a:pt x="3288296" y="144627"/>
                </a:lnTo>
                <a:lnTo>
                  <a:pt x="2980359" y="55727"/>
                </a:lnTo>
                <a:lnTo>
                  <a:pt x="2935554" y="55727"/>
                </a:lnTo>
                <a:lnTo>
                  <a:pt x="2845460" y="30327"/>
                </a:lnTo>
                <a:lnTo>
                  <a:pt x="2800197" y="30327"/>
                </a:lnTo>
                <a:lnTo>
                  <a:pt x="2754820" y="17627"/>
                </a:lnTo>
                <a:lnTo>
                  <a:pt x="2663748" y="17627"/>
                </a:lnTo>
                <a:lnTo>
                  <a:pt x="2618079" y="4927"/>
                </a:lnTo>
                <a:lnTo>
                  <a:pt x="2343137" y="4927"/>
                </a:lnTo>
                <a:lnTo>
                  <a:pt x="2297277" y="17627"/>
                </a:lnTo>
                <a:lnTo>
                  <a:pt x="2205672" y="17627"/>
                </a:lnTo>
                <a:lnTo>
                  <a:pt x="2159939" y="30327"/>
                </a:lnTo>
                <a:lnTo>
                  <a:pt x="2114270" y="30327"/>
                </a:lnTo>
                <a:lnTo>
                  <a:pt x="2068690" y="43027"/>
                </a:lnTo>
                <a:lnTo>
                  <a:pt x="2023211" y="43027"/>
                </a:lnTo>
                <a:lnTo>
                  <a:pt x="1887474" y="81127"/>
                </a:lnTo>
                <a:lnTo>
                  <a:pt x="1842516" y="81127"/>
                </a:lnTo>
                <a:lnTo>
                  <a:pt x="1753095" y="106527"/>
                </a:lnTo>
                <a:lnTo>
                  <a:pt x="1708658" y="131927"/>
                </a:lnTo>
                <a:lnTo>
                  <a:pt x="1533131" y="182727"/>
                </a:lnTo>
                <a:lnTo>
                  <a:pt x="1489862" y="208127"/>
                </a:lnTo>
                <a:lnTo>
                  <a:pt x="1446872" y="220827"/>
                </a:lnTo>
                <a:lnTo>
                  <a:pt x="1404162" y="246227"/>
                </a:lnTo>
                <a:lnTo>
                  <a:pt x="1361757" y="258927"/>
                </a:lnTo>
                <a:lnTo>
                  <a:pt x="1236497" y="335127"/>
                </a:lnTo>
                <a:lnTo>
                  <a:pt x="1195425" y="347827"/>
                </a:lnTo>
                <a:lnTo>
                  <a:pt x="1154734" y="373227"/>
                </a:lnTo>
                <a:lnTo>
                  <a:pt x="1034999" y="449427"/>
                </a:lnTo>
                <a:lnTo>
                  <a:pt x="995908" y="487527"/>
                </a:lnTo>
                <a:lnTo>
                  <a:pt x="957262" y="512927"/>
                </a:lnTo>
                <a:lnTo>
                  <a:pt x="881341" y="563727"/>
                </a:lnTo>
                <a:lnTo>
                  <a:pt x="844092" y="601827"/>
                </a:lnTo>
                <a:lnTo>
                  <a:pt x="807339" y="627227"/>
                </a:lnTo>
                <a:lnTo>
                  <a:pt x="771080" y="665327"/>
                </a:lnTo>
                <a:lnTo>
                  <a:pt x="735355" y="690727"/>
                </a:lnTo>
                <a:lnTo>
                  <a:pt x="700151" y="728827"/>
                </a:lnTo>
                <a:lnTo>
                  <a:pt x="663994" y="766927"/>
                </a:lnTo>
                <a:lnTo>
                  <a:pt x="628726" y="805027"/>
                </a:lnTo>
                <a:lnTo>
                  <a:pt x="594360" y="843127"/>
                </a:lnTo>
                <a:lnTo>
                  <a:pt x="560895" y="881227"/>
                </a:lnTo>
                <a:lnTo>
                  <a:pt x="528345" y="919327"/>
                </a:lnTo>
                <a:lnTo>
                  <a:pt x="496709" y="957427"/>
                </a:lnTo>
                <a:lnTo>
                  <a:pt x="465988" y="995527"/>
                </a:lnTo>
                <a:lnTo>
                  <a:pt x="436206" y="1033627"/>
                </a:lnTo>
                <a:lnTo>
                  <a:pt x="407352" y="1071727"/>
                </a:lnTo>
                <a:lnTo>
                  <a:pt x="379437" y="1109827"/>
                </a:lnTo>
                <a:lnTo>
                  <a:pt x="352463" y="1160627"/>
                </a:lnTo>
                <a:lnTo>
                  <a:pt x="326440" y="1198727"/>
                </a:lnTo>
                <a:lnTo>
                  <a:pt x="301358" y="1236827"/>
                </a:lnTo>
                <a:lnTo>
                  <a:pt x="277253" y="1287627"/>
                </a:lnTo>
                <a:lnTo>
                  <a:pt x="254101" y="1325727"/>
                </a:lnTo>
                <a:lnTo>
                  <a:pt x="231927" y="1376527"/>
                </a:lnTo>
                <a:lnTo>
                  <a:pt x="210731" y="1414627"/>
                </a:lnTo>
                <a:lnTo>
                  <a:pt x="190512" y="1465427"/>
                </a:lnTo>
                <a:lnTo>
                  <a:pt x="171272" y="1503527"/>
                </a:lnTo>
                <a:lnTo>
                  <a:pt x="153035" y="1554327"/>
                </a:lnTo>
                <a:lnTo>
                  <a:pt x="135801" y="1592427"/>
                </a:lnTo>
                <a:lnTo>
                  <a:pt x="119557" y="1643227"/>
                </a:lnTo>
                <a:lnTo>
                  <a:pt x="104317" y="1694027"/>
                </a:lnTo>
                <a:lnTo>
                  <a:pt x="90106" y="1732127"/>
                </a:lnTo>
                <a:lnTo>
                  <a:pt x="76911" y="1782927"/>
                </a:lnTo>
                <a:lnTo>
                  <a:pt x="64731" y="1833727"/>
                </a:lnTo>
                <a:lnTo>
                  <a:pt x="53594" y="1884527"/>
                </a:lnTo>
                <a:lnTo>
                  <a:pt x="43484" y="1922627"/>
                </a:lnTo>
                <a:lnTo>
                  <a:pt x="34417" y="1973427"/>
                </a:lnTo>
                <a:lnTo>
                  <a:pt x="26390" y="2024227"/>
                </a:lnTo>
                <a:lnTo>
                  <a:pt x="19431" y="2075027"/>
                </a:lnTo>
                <a:lnTo>
                  <a:pt x="13512" y="2125827"/>
                </a:lnTo>
                <a:lnTo>
                  <a:pt x="8661" y="2176627"/>
                </a:lnTo>
                <a:lnTo>
                  <a:pt x="4889" y="2227427"/>
                </a:lnTo>
                <a:lnTo>
                  <a:pt x="2171" y="2278227"/>
                </a:lnTo>
                <a:lnTo>
                  <a:pt x="546" y="2329027"/>
                </a:lnTo>
                <a:lnTo>
                  <a:pt x="0" y="2379827"/>
                </a:lnTo>
                <a:lnTo>
                  <a:pt x="546" y="2417927"/>
                </a:lnTo>
                <a:lnTo>
                  <a:pt x="2171" y="2468727"/>
                </a:lnTo>
                <a:lnTo>
                  <a:pt x="4889" y="2519527"/>
                </a:lnTo>
                <a:lnTo>
                  <a:pt x="8661" y="2570327"/>
                </a:lnTo>
                <a:lnTo>
                  <a:pt x="13512" y="2621127"/>
                </a:lnTo>
                <a:lnTo>
                  <a:pt x="19431" y="2671927"/>
                </a:lnTo>
                <a:lnTo>
                  <a:pt x="26390" y="2722727"/>
                </a:lnTo>
                <a:lnTo>
                  <a:pt x="34417" y="2773527"/>
                </a:lnTo>
                <a:lnTo>
                  <a:pt x="43484" y="2824327"/>
                </a:lnTo>
                <a:lnTo>
                  <a:pt x="53594" y="2862427"/>
                </a:lnTo>
                <a:lnTo>
                  <a:pt x="64731" y="2913227"/>
                </a:lnTo>
                <a:lnTo>
                  <a:pt x="76911" y="2964027"/>
                </a:lnTo>
                <a:lnTo>
                  <a:pt x="90106" y="3014827"/>
                </a:lnTo>
                <a:lnTo>
                  <a:pt x="104317" y="3052927"/>
                </a:lnTo>
                <a:lnTo>
                  <a:pt x="119557" y="3103727"/>
                </a:lnTo>
                <a:lnTo>
                  <a:pt x="135801" y="3154527"/>
                </a:lnTo>
                <a:lnTo>
                  <a:pt x="153035" y="3192627"/>
                </a:lnTo>
                <a:lnTo>
                  <a:pt x="171272" y="3243427"/>
                </a:lnTo>
                <a:lnTo>
                  <a:pt x="190512" y="3281527"/>
                </a:lnTo>
                <a:lnTo>
                  <a:pt x="210731" y="3332327"/>
                </a:lnTo>
                <a:lnTo>
                  <a:pt x="231927" y="3370427"/>
                </a:lnTo>
                <a:lnTo>
                  <a:pt x="254101" y="3421227"/>
                </a:lnTo>
                <a:lnTo>
                  <a:pt x="277253" y="3459327"/>
                </a:lnTo>
                <a:lnTo>
                  <a:pt x="301358" y="3510127"/>
                </a:lnTo>
                <a:lnTo>
                  <a:pt x="326440" y="3548227"/>
                </a:lnTo>
                <a:lnTo>
                  <a:pt x="352463" y="3586327"/>
                </a:lnTo>
                <a:lnTo>
                  <a:pt x="379437" y="3637127"/>
                </a:lnTo>
                <a:lnTo>
                  <a:pt x="407352" y="3675227"/>
                </a:lnTo>
                <a:lnTo>
                  <a:pt x="436206" y="3713327"/>
                </a:lnTo>
                <a:lnTo>
                  <a:pt x="465988" y="3751427"/>
                </a:lnTo>
                <a:lnTo>
                  <a:pt x="496709" y="3789527"/>
                </a:lnTo>
                <a:lnTo>
                  <a:pt x="528345" y="3827627"/>
                </a:lnTo>
                <a:lnTo>
                  <a:pt x="560895" y="3865727"/>
                </a:lnTo>
                <a:lnTo>
                  <a:pt x="594360" y="3903827"/>
                </a:lnTo>
                <a:lnTo>
                  <a:pt x="628726" y="3941927"/>
                </a:lnTo>
                <a:lnTo>
                  <a:pt x="663994" y="3980027"/>
                </a:lnTo>
                <a:lnTo>
                  <a:pt x="700151" y="4018127"/>
                </a:lnTo>
                <a:lnTo>
                  <a:pt x="2822943" y="6075527"/>
                </a:lnTo>
                <a:lnTo>
                  <a:pt x="3342703" y="6075527"/>
                </a:lnTo>
                <a:lnTo>
                  <a:pt x="960056" y="3764127"/>
                </a:lnTo>
                <a:lnTo>
                  <a:pt x="923645" y="3726027"/>
                </a:lnTo>
                <a:lnTo>
                  <a:pt x="888314" y="3687927"/>
                </a:lnTo>
                <a:lnTo>
                  <a:pt x="854062" y="3649827"/>
                </a:lnTo>
                <a:lnTo>
                  <a:pt x="820902" y="3611727"/>
                </a:lnTo>
                <a:lnTo>
                  <a:pt x="788847" y="3573627"/>
                </a:lnTo>
                <a:lnTo>
                  <a:pt x="757897" y="3535527"/>
                </a:lnTo>
                <a:lnTo>
                  <a:pt x="728065" y="3497427"/>
                </a:lnTo>
                <a:lnTo>
                  <a:pt x="699350" y="3459327"/>
                </a:lnTo>
                <a:lnTo>
                  <a:pt x="671779" y="3408527"/>
                </a:lnTo>
                <a:lnTo>
                  <a:pt x="645350" y="3370427"/>
                </a:lnTo>
                <a:lnTo>
                  <a:pt x="620064" y="3332327"/>
                </a:lnTo>
                <a:lnTo>
                  <a:pt x="595934" y="3281527"/>
                </a:lnTo>
                <a:lnTo>
                  <a:pt x="572973" y="3243427"/>
                </a:lnTo>
                <a:lnTo>
                  <a:pt x="551180" y="3192627"/>
                </a:lnTo>
                <a:lnTo>
                  <a:pt x="530567" y="3154527"/>
                </a:lnTo>
                <a:lnTo>
                  <a:pt x="511136" y="3103727"/>
                </a:lnTo>
                <a:lnTo>
                  <a:pt x="492912" y="3052927"/>
                </a:lnTo>
                <a:lnTo>
                  <a:pt x="475894" y="3014827"/>
                </a:lnTo>
                <a:lnTo>
                  <a:pt x="460070" y="2964027"/>
                </a:lnTo>
                <a:lnTo>
                  <a:pt x="445477" y="2913227"/>
                </a:lnTo>
                <a:lnTo>
                  <a:pt x="432117" y="2875127"/>
                </a:lnTo>
                <a:lnTo>
                  <a:pt x="419989" y="2824327"/>
                </a:lnTo>
                <a:lnTo>
                  <a:pt x="409105" y="2773527"/>
                </a:lnTo>
                <a:lnTo>
                  <a:pt x="399465" y="2722727"/>
                </a:lnTo>
                <a:lnTo>
                  <a:pt x="391083" y="2671927"/>
                </a:lnTo>
                <a:lnTo>
                  <a:pt x="383971" y="2621127"/>
                </a:lnTo>
                <a:lnTo>
                  <a:pt x="378142" y="2570327"/>
                </a:lnTo>
                <a:lnTo>
                  <a:pt x="373595" y="2519527"/>
                </a:lnTo>
                <a:lnTo>
                  <a:pt x="370332" y="2468727"/>
                </a:lnTo>
                <a:lnTo>
                  <a:pt x="368363" y="2417927"/>
                </a:lnTo>
                <a:lnTo>
                  <a:pt x="367715" y="2379827"/>
                </a:lnTo>
                <a:lnTo>
                  <a:pt x="368363" y="2329027"/>
                </a:lnTo>
                <a:lnTo>
                  <a:pt x="370332" y="2278227"/>
                </a:lnTo>
                <a:lnTo>
                  <a:pt x="373595" y="2227427"/>
                </a:lnTo>
                <a:lnTo>
                  <a:pt x="378142" y="2176627"/>
                </a:lnTo>
                <a:lnTo>
                  <a:pt x="383971" y="2125827"/>
                </a:lnTo>
                <a:lnTo>
                  <a:pt x="391083" y="2075027"/>
                </a:lnTo>
                <a:lnTo>
                  <a:pt x="399465" y="2024227"/>
                </a:lnTo>
                <a:lnTo>
                  <a:pt x="409105" y="1973427"/>
                </a:lnTo>
                <a:lnTo>
                  <a:pt x="419989" y="1922627"/>
                </a:lnTo>
                <a:lnTo>
                  <a:pt x="432117" y="1871827"/>
                </a:lnTo>
                <a:lnTo>
                  <a:pt x="445477" y="1833727"/>
                </a:lnTo>
                <a:lnTo>
                  <a:pt x="460070" y="1782927"/>
                </a:lnTo>
                <a:lnTo>
                  <a:pt x="475894" y="1732127"/>
                </a:lnTo>
                <a:lnTo>
                  <a:pt x="492912" y="1694027"/>
                </a:lnTo>
                <a:lnTo>
                  <a:pt x="511136" y="1643227"/>
                </a:lnTo>
                <a:lnTo>
                  <a:pt x="530567" y="1592427"/>
                </a:lnTo>
                <a:lnTo>
                  <a:pt x="551180" y="1554327"/>
                </a:lnTo>
                <a:lnTo>
                  <a:pt x="572973" y="1503527"/>
                </a:lnTo>
                <a:lnTo>
                  <a:pt x="595934" y="1465427"/>
                </a:lnTo>
                <a:lnTo>
                  <a:pt x="620064" y="1414627"/>
                </a:lnTo>
                <a:lnTo>
                  <a:pt x="645350" y="1376527"/>
                </a:lnTo>
                <a:lnTo>
                  <a:pt x="671779" y="1338427"/>
                </a:lnTo>
                <a:lnTo>
                  <a:pt x="699350" y="1287627"/>
                </a:lnTo>
                <a:lnTo>
                  <a:pt x="728065" y="1249527"/>
                </a:lnTo>
                <a:lnTo>
                  <a:pt x="757897" y="1211427"/>
                </a:lnTo>
                <a:lnTo>
                  <a:pt x="788847" y="1173327"/>
                </a:lnTo>
                <a:lnTo>
                  <a:pt x="820902" y="1135227"/>
                </a:lnTo>
                <a:lnTo>
                  <a:pt x="854062" y="1097127"/>
                </a:lnTo>
                <a:lnTo>
                  <a:pt x="888314" y="1059027"/>
                </a:lnTo>
                <a:lnTo>
                  <a:pt x="923645" y="1020927"/>
                </a:lnTo>
                <a:lnTo>
                  <a:pt x="960056" y="982827"/>
                </a:lnTo>
                <a:lnTo>
                  <a:pt x="994651" y="944727"/>
                </a:lnTo>
                <a:lnTo>
                  <a:pt x="1029855" y="919327"/>
                </a:lnTo>
                <a:lnTo>
                  <a:pt x="1065631" y="881227"/>
                </a:lnTo>
                <a:lnTo>
                  <a:pt x="1101991" y="855827"/>
                </a:lnTo>
                <a:lnTo>
                  <a:pt x="1176337" y="805027"/>
                </a:lnTo>
                <a:lnTo>
                  <a:pt x="1214285" y="766927"/>
                </a:lnTo>
                <a:lnTo>
                  <a:pt x="1291666" y="716127"/>
                </a:lnTo>
                <a:lnTo>
                  <a:pt x="1370888" y="665327"/>
                </a:lnTo>
                <a:lnTo>
                  <a:pt x="1411147" y="652627"/>
                </a:lnTo>
                <a:lnTo>
                  <a:pt x="1492859" y="601827"/>
                </a:lnTo>
                <a:lnTo>
                  <a:pt x="1534274" y="589127"/>
                </a:lnTo>
                <a:lnTo>
                  <a:pt x="1576057" y="563727"/>
                </a:lnTo>
                <a:lnTo>
                  <a:pt x="1618157" y="551027"/>
                </a:lnTo>
                <a:lnTo>
                  <a:pt x="1660588" y="525627"/>
                </a:lnTo>
                <a:lnTo>
                  <a:pt x="2009190" y="424027"/>
                </a:lnTo>
                <a:lnTo>
                  <a:pt x="2053640" y="424027"/>
                </a:lnTo>
                <a:lnTo>
                  <a:pt x="2098243" y="411327"/>
                </a:lnTo>
                <a:lnTo>
                  <a:pt x="2142947" y="411327"/>
                </a:lnTo>
                <a:lnTo>
                  <a:pt x="2187752" y="398627"/>
                </a:lnTo>
                <a:lnTo>
                  <a:pt x="2232647" y="398627"/>
                </a:lnTo>
                <a:lnTo>
                  <a:pt x="2277605" y="385927"/>
                </a:lnTo>
                <a:lnTo>
                  <a:pt x="2592540" y="385927"/>
                </a:lnTo>
                <a:lnTo>
                  <a:pt x="2637345" y="398627"/>
                </a:lnTo>
                <a:lnTo>
                  <a:pt x="2682062" y="398627"/>
                </a:lnTo>
                <a:lnTo>
                  <a:pt x="2726652" y="411327"/>
                </a:lnTo>
                <a:lnTo>
                  <a:pt x="2771114" y="411327"/>
                </a:lnTo>
                <a:lnTo>
                  <a:pt x="2815425" y="424027"/>
                </a:lnTo>
                <a:lnTo>
                  <a:pt x="2859557" y="424027"/>
                </a:lnTo>
                <a:lnTo>
                  <a:pt x="3162173" y="512927"/>
                </a:lnTo>
                <a:lnTo>
                  <a:pt x="3204286" y="538327"/>
                </a:lnTo>
                <a:lnTo>
                  <a:pt x="3246069" y="551027"/>
                </a:lnTo>
                <a:lnTo>
                  <a:pt x="3287496" y="576427"/>
                </a:lnTo>
                <a:lnTo>
                  <a:pt x="3328555" y="589127"/>
                </a:lnTo>
                <a:lnTo>
                  <a:pt x="3369221" y="614527"/>
                </a:lnTo>
                <a:lnTo>
                  <a:pt x="3409480" y="627227"/>
                </a:lnTo>
                <a:lnTo>
                  <a:pt x="3488715" y="678027"/>
                </a:lnTo>
                <a:lnTo>
                  <a:pt x="3566109" y="728827"/>
                </a:lnTo>
                <a:lnTo>
                  <a:pt x="3641521" y="779627"/>
                </a:lnTo>
                <a:lnTo>
                  <a:pt x="3678428" y="817727"/>
                </a:lnTo>
                <a:lnTo>
                  <a:pt x="3714800" y="843127"/>
                </a:lnTo>
                <a:lnTo>
                  <a:pt x="3750589" y="868527"/>
                </a:lnTo>
                <a:lnTo>
                  <a:pt x="3785793" y="906627"/>
                </a:lnTo>
                <a:lnTo>
                  <a:pt x="3820401" y="932027"/>
                </a:lnTo>
                <a:lnTo>
                  <a:pt x="3897134" y="1008227"/>
                </a:lnTo>
                <a:lnTo>
                  <a:pt x="3897134" y="487527"/>
                </a:lnTo>
                <a:close/>
              </a:path>
              <a:path w="5816600" h="6075680">
                <a:moveTo>
                  <a:pt x="5565305" y="2377897"/>
                </a:moveTo>
                <a:lnTo>
                  <a:pt x="5564340" y="2334031"/>
                </a:lnTo>
                <a:lnTo>
                  <a:pt x="5554662" y="2291321"/>
                </a:lnTo>
                <a:lnTo>
                  <a:pt x="5536425" y="2252027"/>
                </a:lnTo>
                <a:lnTo>
                  <a:pt x="5509780" y="2218461"/>
                </a:lnTo>
                <a:lnTo>
                  <a:pt x="5470957" y="2190991"/>
                </a:lnTo>
                <a:lnTo>
                  <a:pt x="5427637" y="2177643"/>
                </a:lnTo>
                <a:lnTo>
                  <a:pt x="5382069" y="2177173"/>
                </a:lnTo>
                <a:lnTo>
                  <a:pt x="5336502" y="2188349"/>
                </a:lnTo>
                <a:lnTo>
                  <a:pt x="5293182" y="2209939"/>
                </a:lnTo>
                <a:lnTo>
                  <a:pt x="5254358" y="2240686"/>
                </a:lnTo>
                <a:lnTo>
                  <a:pt x="3897236" y="3560622"/>
                </a:lnTo>
                <a:lnTo>
                  <a:pt x="2540127" y="2240686"/>
                </a:lnTo>
                <a:lnTo>
                  <a:pt x="2501315" y="2209939"/>
                </a:lnTo>
                <a:lnTo>
                  <a:pt x="2457996" y="2188349"/>
                </a:lnTo>
                <a:lnTo>
                  <a:pt x="2412428" y="2177173"/>
                </a:lnTo>
                <a:lnTo>
                  <a:pt x="2366848" y="2177643"/>
                </a:lnTo>
                <a:lnTo>
                  <a:pt x="2323541" y="2190991"/>
                </a:lnTo>
                <a:lnTo>
                  <a:pt x="2284717" y="2218461"/>
                </a:lnTo>
                <a:lnTo>
                  <a:pt x="2258060" y="2252027"/>
                </a:lnTo>
                <a:lnTo>
                  <a:pt x="2239822" y="2291321"/>
                </a:lnTo>
                <a:lnTo>
                  <a:pt x="2230145" y="2334031"/>
                </a:lnTo>
                <a:lnTo>
                  <a:pt x="2229193" y="2377897"/>
                </a:lnTo>
                <a:lnTo>
                  <a:pt x="2237117" y="2420620"/>
                </a:lnTo>
                <a:lnTo>
                  <a:pt x="2254072" y="2459901"/>
                </a:lnTo>
                <a:lnTo>
                  <a:pt x="2280221" y="2493467"/>
                </a:lnTo>
                <a:lnTo>
                  <a:pt x="3897134" y="4066197"/>
                </a:lnTo>
                <a:lnTo>
                  <a:pt x="3897134" y="4066400"/>
                </a:lnTo>
                <a:lnTo>
                  <a:pt x="3897350" y="4066400"/>
                </a:lnTo>
                <a:lnTo>
                  <a:pt x="3897350" y="4066197"/>
                </a:lnTo>
                <a:lnTo>
                  <a:pt x="5514264" y="2493467"/>
                </a:lnTo>
                <a:lnTo>
                  <a:pt x="5540413" y="2459901"/>
                </a:lnTo>
                <a:lnTo>
                  <a:pt x="5557380" y="2420620"/>
                </a:lnTo>
                <a:lnTo>
                  <a:pt x="5565305" y="2377897"/>
                </a:lnTo>
                <a:close/>
              </a:path>
              <a:path w="5816600" h="6075680">
                <a:moveTo>
                  <a:pt x="5816460" y="4748174"/>
                </a:moveTo>
                <a:lnTo>
                  <a:pt x="4451782" y="6075527"/>
                </a:lnTo>
                <a:lnTo>
                  <a:pt x="4971542" y="6075527"/>
                </a:lnTo>
                <a:lnTo>
                  <a:pt x="5816460" y="5253736"/>
                </a:lnTo>
                <a:lnTo>
                  <a:pt x="5816460" y="4748174"/>
                </a:lnTo>
                <a:close/>
              </a:path>
              <a:path w="5816600" h="6075680">
                <a:moveTo>
                  <a:pt x="5816460" y="1578051"/>
                </a:moveTo>
                <a:lnTo>
                  <a:pt x="5762447" y="1552016"/>
                </a:lnTo>
                <a:lnTo>
                  <a:pt x="5719800" y="1534591"/>
                </a:lnTo>
                <a:lnTo>
                  <a:pt x="5676468" y="1519351"/>
                </a:lnTo>
                <a:lnTo>
                  <a:pt x="5632539" y="1506283"/>
                </a:lnTo>
                <a:lnTo>
                  <a:pt x="5588114" y="1495386"/>
                </a:lnTo>
                <a:lnTo>
                  <a:pt x="5543283" y="1486674"/>
                </a:lnTo>
                <a:lnTo>
                  <a:pt x="5498135" y="1480134"/>
                </a:lnTo>
                <a:lnTo>
                  <a:pt x="5452757" y="1475765"/>
                </a:lnTo>
                <a:lnTo>
                  <a:pt x="5407241" y="1473581"/>
                </a:lnTo>
                <a:lnTo>
                  <a:pt x="5361686" y="1473568"/>
                </a:lnTo>
                <a:lnTo>
                  <a:pt x="5316169" y="1475727"/>
                </a:lnTo>
                <a:lnTo>
                  <a:pt x="5270779" y="1480070"/>
                </a:lnTo>
                <a:lnTo>
                  <a:pt x="5225631" y="1486585"/>
                </a:lnTo>
                <a:lnTo>
                  <a:pt x="5180787" y="1495285"/>
                </a:lnTo>
                <a:lnTo>
                  <a:pt x="5136362" y="1506156"/>
                </a:lnTo>
                <a:lnTo>
                  <a:pt x="5092433" y="1519212"/>
                </a:lnTo>
                <a:lnTo>
                  <a:pt x="5049088" y="1534426"/>
                </a:lnTo>
                <a:lnTo>
                  <a:pt x="5006416" y="1551838"/>
                </a:lnTo>
                <a:lnTo>
                  <a:pt x="4964519" y="1571409"/>
                </a:lnTo>
                <a:lnTo>
                  <a:pt x="4923485" y="1593176"/>
                </a:lnTo>
                <a:lnTo>
                  <a:pt x="4883404" y="1617103"/>
                </a:lnTo>
                <a:lnTo>
                  <a:pt x="4844351" y="1643214"/>
                </a:lnTo>
                <a:lnTo>
                  <a:pt x="4806442" y="1671510"/>
                </a:lnTo>
                <a:lnTo>
                  <a:pt x="4769751" y="1701977"/>
                </a:lnTo>
                <a:lnTo>
                  <a:pt x="4734382" y="1734616"/>
                </a:lnTo>
                <a:lnTo>
                  <a:pt x="3897236" y="2548915"/>
                </a:lnTo>
                <a:lnTo>
                  <a:pt x="3060103" y="1734616"/>
                </a:lnTo>
                <a:lnTo>
                  <a:pt x="3024733" y="1701977"/>
                </a:lnTo>
                <a:lnTo>
                  <a:pt x="2988043" y="1671510"/>
                </a:lnTo>
                <a:lnTo>
                  <a:pt x="2950133" y="1643214"/>
                </a:lnTo>
                <a:lnTo>
                  <a:pt x="2911094" y="1617103"/>
                </a:lnTo>
                <a:lnTo>
                  <a:pt x="2871000" y="1593176"/>
                </a:lnTo>
                <a:lnTo>
                  <a:pt x="2829966" y="1571409"/>
                </a:lnTo>
                <a:lnTo>
                  <a:pt x="2788069" y="1551838"/>
                </a:lnTo>
                <a:lnTo>
                  <a:pt x="2745409" y="1534426"/>
                </a:lnTo>
                <a:lnTo>
                  <a:pt x="2702064" y="1519212"/>
                </a:lnTo>
                <a:lnTo>
                  <a:pt x="2658135" y="1506156"/>
                </a:lnTo>
                <a:lnTo>
                  <a:pt x="2613698" y="1495285"/>
                </a:lnTo>
                <a:lnTo>
                  <a:pt x="2568854" y="1486585"/>
                </a:lnTo>
                <a:lnTo>
                  <a:pt x="2523706" y="1480070"/>
                </a:lnTo>
                <a:lnTo>
                  <a:pt x="2478328" y="1475727"/>
                </a:lnTo>
                <a:lnTo>
                  <a:pt x="2432812" y="1473568"/>
                </a:lnTo>
                <a:lnTo>
                  <a:pt x="2387244" y="1473581"/>
                </a:lnTo>
                <a:lnTo>
                  <a:pt x="2341740" y="1475765"/>
                </a:lnTo>
                <a:lnTo>
                  <a:pt x="2296363" y="1480134"/>
                </a:lnTo>
                <a:lnTo>
                  <a:pt x="2251214" y="1486674"/>
                </a:lnTo>
                <a:lnTo>
                  <a:pt x="2206371" y="1495386"/>
                </a:lnTo>
                <a:lnTo>
                  <a:pt x="2161959" y="1506283"/>
                </a:lnTo>
                <a:lnTo>
                  <a:pt x="2118029" y="1519351"/>
                </a:lnTo>
                <a:lnTo>
                  <a:pt x="2074697" y="1534591"/>
                </a:lnTo>
                <a:lnTo>
                  <a:pt x="2032038" y="1552016"/>
                </a:lnTo>
                <a:lnTo>
                  <a:pt x="1990153" y="1571612"/>
                </a:lnTo>
                <a:lnTo>
                  <a:pt x="1949132" y="1593380"/>
                </a:lnTo>
                <a:lnTo>
                  <a:pt x="1909064" y="1617332"/>
                </a:lnTo>
                <a:lnTo>
                  <a:pt x="1870036" y="1643456"/>
                </a:lnTo>
                <a:lnTo>
                  <a:pt x="1832140" y="1671751"/>
                </a:lnTo>
                <a:lnTo>
                  <a:pt x="1795475" y="1702219"/>
                </a:lnTo>
                <a:lnTo>
                  <a:pt x="1760118" y="1734870"/>
                </a:lnTo>
                <a:lnTo>
                  <a:pt x="1726552" y="1769275"/>
                </a:lnTo>
                <a:lnTo>
                  <a:pt x="1695221" y="1804949"/>
                </a:lnTo>
                <a:lnTo>
                  <a:pt x="1666125" y="1841817"/>
                </a:lnTo>
                <a:lnTo>
                  <a:pt x="1639265" y="1879790"/>
                </a:lnTo>
                <a:lnTo>
                  <a:pt x="1614652" y="1918766"/>
                </a:lnTo>
                <a:lnTo>
                  <a:pt x="1592262" y="1958682"/>
                </a:lnTo>
                <a:lnTo>
                  <a:pt x="1572133" y="1999424"/>
                </a:lnTo>
                <a:lnTo>
                  <a:pt x="1554226" y="2040915"/>
                </a:lnTo>
                <a:lnTo>
                  <a:pt x="1538554" y="2083066"/>
                </a:lnTo>
                <a:lnTo>
                  <a:pt x="1525130" y="2125789"/>
                </a:lnTo>
                <a:lnTo>
                  <a:pt x="1513941" y="2168995"/>
                </a:lnTo>
                <a:lnTo>
                  <a:pt x="1504988" y="2212594"/>
                </a:lnTo>
                <a:lnTo>
                  <a:pt x="1498269" y="2256510"/>
                </a:lnTo>
                <a:lnTo>
                  <a:pt x="1493799" y="2300643"/>
                </a:lnTo>
                <a:lnTo>
                  <a:pt x="1491564" y="2344902"/>
                </a:lnTo>
                <a:lnTo>
                  <a:pt x="1491564" y="2389213"/>
                </a:lnTo>
                <a:lnTo>
                  <a:pt x="1493799" y="2433472"/>
                </a:lnTo>
                <a:lnTo>
                  <a:pt x="1498269" y="2477605"/>
                </a:lnTo>
                <a:lnTo>
                  <a:pt x="1504988" y="2521521"/>
                </a:lnTo>
                <a:lnTo>
                  <a:pt x="1513941" y="2565120"/>
                </a:lnTo>
                <a:lnTo>
                  <a:pt x="1525130" y="2608326"/>
                </a:lnTo>
                <a:lnTo>
                  <a:pt x="1538554" y="2651048"/>
                </a:lnTo>
                <a:lnTo>
                  <a:pt x="1554226" y="2693200"/>
                </a:lnTo>
                <a:lnTo>
                  <a:pt x="1572133" y="2734691"/>
                </a:lnTo>
                <a:lnTo>
                  <a:pt x="1592262" y="2775432"/>
                </a:lnTo>
                <a:lnTo>
                  <a:pt x="1614652" y="2815336"/>
                </a:lnTo>
                <a:lnTo>
                  <a:pt x="1639265" y="2854325"/>
                </a:lnTo>
                <a:lnTo>
                  <a:pt x="1666125" y="2892285"/>
                </a:lnTo>
                <a:lnTo>
                  <a:pt x="1695221" y="2929153"/>
                </a:lnTo>
                <a:lnTo>
                  <a:pt x="1726552" y="2964840"/>
                </a:lnTo>
                <a:lnTo>
                  <a:pt x="1760118" y="2999244"/>
                </a:lnTo>
                <a:lnTo>
                  <a:pt x="3897134" y="5077841"/>
                </a:lnTo>
                <a:lnTo>
                  <a:pt x="3897134" y="5078057"/>
                </a:lnTo>
                <a:lnTo>
                  <a:pt x="3897363" y="5078057"/>
                </a:lnTo>
                <a:lnTo>
                  <a:pt x="3897363" y="5077841"/>
                </a:lnTo>
                <a:lnTo>
                  <a:pt x="5816460" y="3211207"/>
                </a:lnTo>
                <a:lnTo>
                  <a:pt x="5816460" y="2700007"/>
                </a:lnTo>
                <a:lnTo>
                  <a:pt x="5806618" y="2712402"/>
                </a:lnTo>
                <a:lnTo>
                  <a:pt x="5774461" y="2746476"/>
                </a:lnTo>
                <a:lnTo>
                  <a:pt x="3897236" y="4572254"/>
                </a:lnTo>
                <a:lnTo>
                  <a:pt x="2020023" y="2746476"/>
                </a:lnTo>
                <a:lnTo>
                  <a:pt x="1987880" y="2712402"/>
                </a:lnTo>
                <a:lnTo>
                  <a:pt x="1959292" y="2676385"/>
                </a:lnTo>
                <a:lnTo>
                  <a:pt x="1934286" y="2638641"/>
                </a:lnTo>
                <a:lnTo>
                  <a:pt x="1912861" y="2599398"/>
                </a:lnTo>
                <a:lnTo>
                  <a:pt x="1894992" y="2558897"/>
                </a:lnTo>
                <a:lnTo>
                  <a:pt x="1880704" y="2517356"/>
                </a:lnTo>
                <a:lnTo>
                  <a:pt x="1869986" y="2475014"/>
                </a:lnTo>
                <a:lnTo>
                  <a:pt x="1862848" y="2432100"/>
                </a:lnTo>
                <a:lnTo>
                  <a:pt x="1859267" y="2388844"/>
                </a:lnTo>
                <a:lnTo>
                  <a:pt x="1859267" y="2345461"/>
                </a:lnTo>
                <a:lnTo>
                  <a:pt x="1862848" y="2302192"/>
                </a:lnTo>
                <a:lnTo>
                  <a:pt x="1869986" y="2259266"/>
                </a:lnTo>
                <a:lnTo>
                  <a:pt x="1880704" y="2216912"/>
                </a:lnTo>
                <a:lnTo>
                  <a:pt x="1894992" y="2175370"/>
                </a:lnTo>
                <a:lnTo>
                  <a:pt x="1912861" y="2134844"/>
                </a:lnTo>
                <a:lnTo>
                  <a:pt x="1934286" y="2095588"/>
                </a:lnTo>
                <a:lnTo>
                  <a:pt x="1959292" y="2057806"/>
                </a:lnTo>
                <a:lnTo>
                  <a:pt x="1987880" y="2021751"/>
                </a:lnTo>
                <a:lnTo>
                  <a:pt x="2020023" y="1987651"/>
                </a:lnTo>
                <a:lnTo>
                  <a:pt x="2055075" y="1956371"/>
                </a:lnTo>
                <a:lnTo>
                  <a:pt x="2092134" y="1928558"/>
                </a:lnTo>
                <a:lnTo>
                  <a:pt x="2130958" y="1904238"/>
                </a:lnTo>
                <a:lnTo>
                  <a:pt x="2171319" y="1883384"/>
                </a:lnTo>
                <a:lnTo>
                  <a:pt x="2212962" y="1865998"/>
                </a:lnTo>
                <a:lnTo>
                  <a:pt x="2255672" y="1852104"/>
                </a:lnTo>
                <a:lnTo>
                  <a:pt x="2299208" y="1841677"/>
                </a:lnTo>
                <a:lnTo>
                  <a:pt x="2343340" y="1834718"/>
                </a:lnTo>
                <a:lnTo>
                  <a:pt x="2387816" y="1831251"/>
                </a:lnTo>
                <a:lnTo>
                  <a:pt x="2432405" y="1831251"/>
                </a:lnTo>
                <a:lnTo>
                  <a:pt x="2476893" y="1834718"/>
                </a:lnTo>
                <a:lnTo>
                  <a:pt x="2521013" y="1841677"/>
                </a:lnTo>
                <a:lnTo>
                  <a:pt x="2564549" y="1852104"/>
                </a:lnTo>
                <a:lnTo>
                  <a:pt x="2607259" y="1865998"/>
                </a:lnTo>
                <a:lnTo>
                  <a:pt x="2648915" y="1883384"/>
                </a:lnTo>
                <a:lnTo>
                  <a:pt x="2689263" y="1904238"/>
                </a:lnTo>
                <a:lnTo>
                  <a:pt x="2728087" y="1928558"/>
                </a:lnTo>
                <a:lnTo>
                  <a:pt x="2765145" y="1956371"/>
                </a:lnTo>
                <a:lnTo>
                  <a:pt x="2800197" y="1987651"/>
                </a:lnTo>
                <a:lnTo>
                  <a:pt x="3897134" y="3054515"/>
                </a:lnTo>
                <a:lnTo>
                  <a:pt x="3897134" y="3054731"/>
                </a:lnTo>
                <a:lnTo>
                  <a:pt x="3897363" y="3054731"/>
                </a:lnTo>
                <a:lnTo>
                  <a:pt x="3897363" y="3054515"/>
                </a:lnTo>
                <a:lnTo>
                  <a:pt x="4994287" y="1987651"/>
                </a:lnTo>
                <a:lnTo>
                  <a:pt x="5029339" y="1956371"/>
                </a:lnTo>
                <a:lnTo>
                  <a:pt x="5066398" y="1928558"/>
                </a:lnTo>
                <a:lnTo>
                  <a:pt x="5105222" y="1904238"/>
                </a:lnTo>
                <a:lnTo>
                  <a:pt x="5145583" y="1883384"/>
                </a:lnTo>
                <a:lnTo>
                  <a:pt x="5187226" y="1865998"/>
                </a:lnTo>
                <a:lnTo>
                  <a:pt x="5229936" y="1852104"/>
                </a:lnTo>
                <a:lnTo>
                  <a:pt x="5273472" y="1841677"/>
                </a:lnTo>
                <a:lnTo>
                  <a:pt x="5317604" y="1834718"/>
                </a:lnTo>
                <a:lnTo>
                  <a:pt x="5362079" y="1831251"/>
                </a:lnTo>
                <a:lnTo>
                  <a:pt x="5406669" y="1831251"/>
                </a:lnTo>
                <a:lnTo>
                  <a:pt x="5451157" y="1834718"/>
                </a:lnTo>
                <a:lnTo>
                  <a:pt x="5495277" y="1841677"/>
                </a:lnTo>
                <a:lnTo>
                  <a:pt x="5538813" y="1852104"/>
                </a:lnTo>
                <a:lnTo>
                  <a:pt x="5581523" y="1865998"/>
                </a:lnTo>
                <a:lnTo>
                  <a:pt x="5623179" y="1883384"/>
                </a:lnTo>
                <a:lnTo>
                  <a:pt x="5663527" y="1904238"/>
                </a:lnTo>
                <a:lnTo>
                  <a:pt x="5702351" y="1928558"/>
                </a:lnTo>
                <a:lnTo>
                  <a:pt x="5739409" y="1956371"/>
                </a:lnTo>
                <a:lnTo>
                  <a:pt x="5774461" y="1987651"/>
                </a:lnTo>
                <a:lnTo>
                  <a:pt x="5806618" y="2021751"/>
                </a:lnTo>
                <a:lnTo>
                  <a:pt x="5816460" y="2034171"/>
                </a:lnTo>
                <a:lnTo>
                  <a:pt x="5816460" y="1831251"/>
                </a:lnTo>
                <a:lnTo>
                  <a:pt x="5816460" y="1578051"/>
                </a:lnTo>
                <a:close/>
              </a:path>
              <a:path w="5816600" h="6075680">
                <a:moveTo>
                  <a:pt x="5816460" y="812927"/>
                </a:moveTo>
                <a:lnTo>
                  <a:pt x="5734024" y="793445"/>
                </a:lnTo>
                <a:lnTo>
                  <a:pt x="5685104" y="784021"/>
                </a:lnTo>
                <a:lnTo>
                  <a:pt x="5635790" y="776020"/>
                </a:lnTo>
                <a:lnTo>
                  <a:pt x="5586107" y="769442"/>
                </a:lnTo>
                <a:lnTo>
                  <a:pt x="5536095" y="764311"/>
                </a:lnTo>
                <a:lnTo>
                  <a:pt x="5485765" y="760641"/>
                </a:lnTo>
                <a:lnTo>
                  <a:pt x="5435143" y="758418"/>
                </a:lnTo>
                <a:lnTo>
                  <a:pt x="5384266" y="757682"/>
                </a:lnTo>
                <a:lnTo>
                  <a:pt x="5333390" y="758418"/>
                </a:lnTo>
                <a:lnTo>
                  <a:pt x="5282768" y="760641"/>
                </a:lnTo>
                <a:lnTo>
                  <a:pt x="5232438" y="764324"/>
                </a:lnTo>
                <a:lnTo>
                  <a:pt x="5182425" y="769454"/>
                </a:lnTo>
                <a:lnTo>
                  <a:pt x="5132743" y="776033"/>
                </a:lnTo>
                <a:lnTo>
                  <a:pt x="5083441" y="784047"/>
                </a:lnTo>
                <a:lnTo>
                  <a:pt x="5034521" y="793483"/>
                </a:lnTo>
                <a:lnTo>
                  <a:pt x="4986007" y="804341"/>
                </a:lnTo>
                <a:lnTo>
                  <a:pt x="4937950" y="816584"/>
                </a:lnTo>
                <a:lnTo>
                  <a:pt x="4890363" y="830224"/>
                </a:lnTo>
                <a:lnTo>
                  <a:pt x="4843284" y="845248"/>
                </a:lnTo>
                <a:lnTo>
                  <a:pt x="4796714" y="861644"/>
                </a:lnTo>
                <a:lnTo>
                  <a:pt x="4750689" y="879398"/>
                </a:lnTo>
                <a:lnTo>
                  <a:pt x="4705248" y="898486"/>
                </a:lnTo>
                <a:lnTo>
                  <a:pt x="4660404" y="918933"/>
                </a:lnTo>
                <a:lnTo>
                  <a:pt x="4616196" y="940701"/>
                </a:lnTo>
                <a:lnTo>
                  <a:pt x="4572635" y="963777"/>
                </a:lnTo>
                <a:lnTo>
                  <a:pt x="4529760" y="988174"/>
                </a:lnTo>
                <a:lnTo>
                  <a:pt x="4487583" y="1013853"/>
                </a:lnTo>
                <a:lnTo>
                  <a:pt x="4446143" y="1040828"/>
                </a:lnTo>
                <a:lnTo>
                  <a:pt x="4405452" y="1069073"/>
                </a:lnTo>
                <a:lnTo>
                  <a:pt x="4365561" y="1098575"/>
                </a:lnTo>
                <a:lnTo>
                  <a:pt x="4326471" y="1129347"/>
                </a:lnTo>
                <a:lnTo>
                  <a:pt x="4288218" y="1161351"/>
                </a:lnTo>
                <a:lnTo>
                  <a:pt x="4250829" y="1194587"/>
                </a:lnTo>
                <a:lnTo>
                  <a:pt x="4214342" y="1229055"/>
                </a:lnTo>
                <a:lnTo>
                  <a:pt x="3897249" y="1537449"/>
                </a:lnTo>
                <a:lnTo>
                  <a:pt x="3580155" y="1229055"/>
                </a:lnTo>
                <a:lnTo>
                  <a:pt x="3543630" y="1194562"/>
                </a:lnTo>
                <a:lnTo>
                  <a:pt x="3506216" y="1161300"/>
                </a:lnTo>
                <a:lnTo>
                  <a:pt x="3467938" y="1129271"/>
                </a:lnTo>
                <a:lnTo>
                  <a:pt x="3428822" y="1098499"/>
                </a:lnTo>
                <a:lnTo>
                  <a:pt x="3389033" y="1069073"/>
                </a:lnTo>
                <a:lnTo>
                  <a:pt x="3348355" y="1040828"/>
                </a:lnTo>
                <a:lnTo>
                  <a:pt x="3306915" y="1013853"/>
                </a:lnTo>
                <a:lnTo>
                  <a:pt x="3264738" y="988174"/>
                </a:lnTo>
                <a:lnTo>
                  <a:pt x="3221863" y="963777"/>
                </a:lnTo>
                <a:lnTo>
                  <a:pt x="3178302" y="940701"/>
                </a:lnTo>
                <a:lnTo>
                  <a:pt x="3134080" y="918933"/>
                </a:lnTo>
                <a:lnTo>
                  <a:pt x="3089237" y="898486"/>
                </a:lnTo>
                <a:lnTo>
                  <a:pt x="3043796" y="879398"/>
                </a:lnTo>
                <a:lnTo>
                  <a:pt x="2997784" y="861644"/>
                </a:lnTo>
                <a:lnTo>
                  <a:pt x="2951213" y="845248"/>
                </a:lnTo>
                <a:lnTo>
                  <a:pt x="2904121" y="830224"/>
                </a:lnTo>
                <a:lnTo>
                  <a:pt x="2856534" y="816584"/>
                </a:lnTo>
                <a:lnTo>
                  <a:pt x="2808478" y="804341"/>
                </a:lnTo>
                <a:lnTo>
                  <a:pt x="2759976" y="793483"/>
                </a:lnTo>
                <a:lnTo>
                  <a:pt x="2711056" y="784047"/>
                </a:lnTo>
                <a:lnTo>
                  <a:pt x="2661742" y="776033"/>
                </a:lnTo>
                <a:lnTo>
                  <a:pt x="2612072" y="769454"/>
                </a:lnTo>
                <a:lnTo>
                  <a:pt x="2561933" y="764311"/>
                </a:lnTo>
                <a:lnTo>
                  <a:pt x="2511628" y="760641"/>
                </a:lnTo>
                <a:lnTo>
                  <a:pt x="2461031" y="758418"/>
                </a:lnTo>
                <a:lnTo>
                  <a:pt x="2410218" y="757682"/>
                </a:lnTo>
                <a:lnTo>
                  <a:pt x="2359317" y="758418"/>
                </a:lnTo>
                <a:lnTo>
                  <a:pt x="2308669" y="760641"/>
                </a:lnTo>
                <a:lnTo>
                  <a:pt x="2258314" y="764324"/>
                </a:lnTo>
                <a:lnTo>
                  <a:pt x="2208263" y="769454"/>
                </a:lnTo>
                <a:lnTo>
                  <a:pt x="2158695" y="776020"/>
                </a:lnTo>
                <a:lnTo>
                  <a:pt x="2109393" y="784021"/>
                </a:lnTo>
                <a:lnTo>
                  <a:pt x="2060473" y="793445"/>
                </a:lnTo>
                <a:lnTo>
                  <a:pt x="2011959" y="804291"/>
                </a:lnTo>
                <a:lnTo>
                  <a:pt x="1963902" y="816533"/>
                </a:lnTo>
                <a:lnTo>
                  <a:pt x="1916315" y="830160"/>
                </a:lnTo>
                <a:lnTo>
                  <a:pt x="1869224" y="845172"/>
                </a:lnTo>
                <a:lnTo>
                  <a:pt x="1822653" y="861555"/>
                </a:lnTo>
                <a:lnTo>
                  <a:pt x="1776628" y="879297"/>
                </a:lnTo>
                <a:lnTo>
                  <a:pt x="1731175" y="898398"/>
                </a:lnTo>
                <a:lnTo>
                  <a:pt x="1686331" y="918819"/>
                </a:lnTo>
                <a:lnTo>
                  <a:pt x="1642097" y="940587"/>
                </a:lnTo>
                <a:lnTo>
                  <a:pt x="1598536" y="963663"/>
                </a:lnTo>
                <a:lnTo>
                  <a:pt x="1555635" y="988060"/>
                </a:lnTo>
                <a:lnTo>
                  <a:pt x="1513459" y="1013739"/>
                </a:lnTo>
                <a:lnTo>
                  <a:pt x="1471993" y="1040726"/>
                </a:lnTo>
                <a:lnTo>
                  <a:pt x="1431302" y="1068971"/>
                </a:lnTo>
                <a:lnTo>
                  <a:pt x="1391285" y="1098575"/>
                </a:lnTo>
                <a:lnTo>
                  <a:pt x="1352194" y="1129347"/>
                </a:lnTo>
                <a:lnTo>
                  <a:pt x="1313954" y="1161351"/>
                </a:lnTo>
                <a:lnTo>
                  <a:pt x="1276565" y="1194587"/>
                </a:lnTo>
                <a:lnTo>
                  <a:pt x="1240078" y="1229055"/>
                </a:lnTo>
                <a:lnTo>
                  <a:pt x="1206131" y="1263040"/>
                </a:lnTo>
                <a:lnTo>
                  <a:pt x="1173416" y="1297762"/>
                </a:lnTo>
                <a:lnTo>
                  <a:pt x="1141933" y="1333182"/>
                </a:lnTo>
                <a:lnTo>
                  <a:pt x="1111681" y="1369275"/>
                </a:lnTo>
                <a:lnTo>
                  <a:pt x="1082675" y="1406004"/>
                </a:lnTo>
                <a:lnTo>
                  <a:pt x="1054900" y="1443367"/>
                </a:lnTo>
                <a:lnTo>
                  <a:pt x="1028357" y="1481302"/>
                </a:lnTo>
                <a:lnTo>
                  <a:pt x="1003046" y="1519821"/>
                </a:lnTo>
                <a:lnTo>
                  <a:pt x="978966" y="1558874"/>
                </a:lnTo>
                <a:lnTo>
                  <a:pt x="956132" y="1598434"/>
                </a:lnTo>
                <a:lnTo>
                  <a:pt x="934529" y="1638477"/>
                </a:lnTo>
                <a:lnTo>
                  <a:pt x="914158" y="1678978"/>
                </a:lnTo>
                <a:lnTo>
                  <a:pt x="895019" y="1719910"/>
                </a:lnTo>
                <a:lnTo>
                  <a:pt x="877125" y="1761248"/>
                </a:lnTo>
                <a:lnTo>
                  <a:pt x="860450" y="1802968"/>
                </a:lnTo>
                <a:lnTo>
                  <a:pt x="845019" y="1845030"/>
                </a:lnTo>
                <a:lnTo>
                  <a:pt x="830821" y="1887410"/>
                </a:lnTo>
                <a:lnTo>
                  <a:pt x="817867" y="1930095"/>
                </a:lnTo>
                <a:lnTo>
                  <a:pt x="806132" y="1973046"/>
                </a:lnTo>
                <a:lnTo>
                  <a:pt x="795642" y="2016239"/>
                </a:lnTo>
                <a:lnTo>
                  <a:pt x="786384" y="2059647"/>
                </a:lnTo>
                <a:lnTo>
                  <a:pt x="778357" y="2103234"/>
                </a:lnTo>
                <a:lnTo>
                  <a:pt x="771563" y="2146998"/>
                </a:lnTo>
                <a:lnTo>
                  <a:pt x="766013" y="2190889"/>
                </a:lnTo>
                <a:lnTo>
                  <a:pt x="761695" y="2234882"/>
                </a:lnTo>
                <a:lnTo>
                  <a:pt x="758609" y="2278964"/>
                </a:lnTo>
                <a:lnTo>
                  <a:pt x="756754" y="2323096"/>
                </a:lnTo>
                <a:lnTo>
                  <a:pt x="756132" y="2367254"/>
                </a:lnTo>
                <a:lnTo>
                  <a:pt x="756754" y="2411412"/>
                </a:lnTo>
                <a:lnTo>
                  <a:pt x="758609" y="2455545"/>
                </a:lnTo>
                <a:lnTo>
                  <a:pt x="761695" y="2499626"/>
                </a:lnTo>
                <a:lnTo>
                  <a:pt x="766013" y="2543619"/>
                </a:lnTo>
                <a:lnTo>
                  <a:pt x="771563" y="2587510"/>
                </a:lnTo>
                <a:lnTo>
                  <a:pt x="778357" y="2631262"/>
                </a:lnTo>
                <a:lnTo>
                  <a:pt x="786384" y="2674848"/>
                </a:lnTo>
                <a:lnTo>
                  <a:pt x="795642" y="2718257"/>
                </a:lnTo>
                <a:lnTo>
                  <a:pt x="806132" y="2761450"/>
                </a:lnTo>
                <a:lnTo>
                  <a:pt x="817867" y="2804388"/>
                </a:lnTo>
                <a:lnTo>
                  <a:pt x="830821" y="2847073"/>
                </a:lnTo>
                <a:lnTo>
                  <a:pt x="845019" y="2889453"/>
                </a:lnTo>
                <a:lnTo>
                  <a:pt x="860450" y="2931503"/>
                </a:lnTo>
                <a:lnTo>
                  <a:pt x="877125" y="2973209"/>
                </a:lnTo>
                <a:lnTo>
                  <a:pt x="895019" y="3014535"/>
                </a:lnTo>
                <a:lnTo>
                  <a:pt x="914158" y="3055467"/>
                </a:lnTo>
                <a:lnTo>
                  <a:pt x="934529" y="3095955"/>
                </a:lnTo>
                <a:lnTo>
                  <a:pt x="956132" y="3135998"/>
                </a:lnTo>
                <a:lnTo>
                  <a:pt x="978966" y="3175546"/>
                </a:lnTo>
                <a:lnTo>
                  <a:pt x="1003046" y="3214586"/>
                </a:lnTo>
                <a:lnTo>
                  <a:pt x="1028357" y="3253092"/>
                </a:lnTo>
                <a:lnTo>
                  <a:pt x="1054900" y="3291027"/>
                </a:lnTo>
                <a:lnTo>
                  <a:pt x="1082675" y="3328365"/>
                </a:lnTo>
                <a:lnTo>
                  <a:pt x="1111681" y="3365093"/>
                </a:lnTo>
                <a:lnTo>
                  <a:pt x="1141933" y="3401174"/>
                </a:lnTo>
                <a:lnTo>
                  <a:pt x="1173416" y="3436582"/>
                </a:lnTo>
                <a:lnTo>
                  <a:pt x="1206131" y="3471291"/>
                </a:lnTo>
                <a:lnTo>
                  <a:pt x="1240078" y="3505263"/>
                </a:lnTo>
                <a:lnTo>
                  <a:pt x="3882771" y="6075527"/>
                </a:lnTo>
                <a:lnTo>
                  <a:pt x="3897134" y="6075527"/>
                </a:lnTo>
                <a:lnTo>
                  <a:pt x="3897363" y="6075527"/>
                </a:lnTo>
                <a:lnTo>
                  <a:pt x="3911714" y="6075527"/>
                </a:lnTo>
                <a:lnTo>
                  <a:pt x="5816460" y="4222991"/>
                </a:lnTo>
                <a:lnTo>
                  <a:pt x="5816460" y="3717226"/>
                </a:lnTo>
                <a:lnTo>
                  <a:pt x="3897249" y="5583974"/>
                </a:lnTo>
                <a:lnTo>
                  <a:pt x="1499984" y="3252241"/>
                </a:lnTo>
                <a:lnTo>
                  <a:pt x="1465795" y="3217697"/>
                </a:lnTo>
                <a:lnTo>
                  <a:pt x="1433233" y="3182213"/>
                </a:lnTo>
                <a:lnTo>
                  <a:pt x="1402295" y="3145828"/>
                </a:lnTo>
                <a:lnTo>
                  <a:pt x="1372984" y="3108579"/>
                </a:lnTo>
                <a:lnTo>
                  <a:pt x="1345311" y="3070529"/>
                </a:lnTo>
                <a:lnTo>
                  <a:pt x="1319263" y="3031718"/>
                </a:lnTo>
                <a:lnTo>
                  <a:pt x="1294841" y="2992196"/>
                </a:lnTo>
                <a:lnTo>
                  <a:pt x="1272044" y="2952000"/>
                </a:lnTo>
                <a:lnTo>
                  <a:pt x="1250873" y="2911170"/>
                </a:lnTo>
                <a:lnTo>
                  <a:pt x="1231341" y="2869781"/>
                </a:lnTo>
                <a:lnTo>
                  <a:pt x="1213434" y="2827845"/>
                </a:lnTo>
                <a:lnTo>
                  <a:pt x="1197152" y="2785427"/>
                </a:lnTo>
                <a:lnTo>
                  <a:pt x="1182497" y="2742577"/>
                </a:lnTo>
                <a:lnTo>
                  <a:pt x="1169466" y="2699334"/>
                </a:lnTo>
                <a:lnTo>
                  <a:pt x="1158074" y="2655735"/>
                </a:lnTo>
                <a:lnTo>
                  <a:pt x="1148308" y="2611844"/>
                </a:lnTo>
                <a:lnTo>
                  <a:pt x="1140167" y="2567698"/>
                </a:lnTo>
                <a:lnTo>
                  <a:pt x="1133652" y="2523337"/>
                </a:lnTo>
                <a:lnTo>
                  <a:pt x="1128763" y="2478824"/>
                </a:lnTo>
                <a:lnTo>
                  <a:pt x="1125512" y="2434196"/>
                </a:lnTo>
                <a:lnTo>
                  <a:pt x="1123886" y="2389492"/>
                </a:lnTo>
                <a:lnTo>
                  <a:pt x="1123886" y="2344763"/>
                </a:lnTo>
                <a:lnTo>
                  <a:pt x="1125512" y="2300059"/>
                </a:lnTo>
                <a:lnTo>
                  <a:pt x="1128763" y="2255431"/>
                </a:lnTo>
                <a:lnTo>
                  <a:pt x="1133652" y="2210905"/>
                </a:lnTo>
                <a:lnTo>
                  <a:pt x="1140167" y="2166543"/>
                </a:lnTo>
                <a:lnTo>
                  <a:pt x="1148308" y="2122398"/>
                </a:lnTo>
                <a:lnTo>
                  <a:pt x="1158074" y="2078494"/>
                </a:lnTo>
                <a:lnTo>
                  <a:pt x="1169466" y="2034895"/>
                </a:lnTo>
                <a:lnTo>
                  <a:pt x="1182497" y="1991652"/>
                </a:lnTo>
                <a:lnTo>
                  <a:pt x="1197152" y="1948789"/>
                </a:lnTo>
                <a:lnTo>
                  <a:pt x="1213434" y="1906358"/>
                </a:lnTo>
                <a:lnTo>
                  <a:pt x="1231341" y="1864423"/>
                </a:lnTo>
                <a:lnTo>
                  <a:pt x="1250873" y="1823021"/>
                </a:lnTo>
                <a:lnTo>
                  <a:pt x="1272044" y="1782191"/>
                </a:lnTo>
                <a:lnTo>
                  <a:pt x="1294841" y="1741982"/>
                </a:lnTo>
                <a:lnTo>
                  <a:pt x="1319263" y="1702435"/>
                </a:lnTo>
                <a:lnTo>
                  <a:pt x="1345311" y="1663611"/>
                </a:lnTo>
                <a:lnTo>
                  <a:pt x="1372984" y="1625549"/>
                </a:lnTo>
                <a:lnTo>
                  <a:pt x="1402295" y="1588287"/>
                </a:lnTo>
                <a:lnTo>
                  <a:pt x="1433233" y="1551889"/>
                </a:lnTo>
                <a:lnTo>
                  <a:pt x="1465795" y="1516380"/>
                </a:lnTo>
                <a:lnTo>
                  <a:pt x="1499984" y="1481823"/>
                </a:lnTo>
                <a:lnTo>
                  <a:pt x="1537055" y="1447177"/>
                </a:lnTo>
                <a:lnTo>
                  <a:pt x="1575269" y="1414145"/>
                </a:lnTo>
                <a:lnTo>
                  <a:pt x="1614614" y="1382725"/>
                </a:lnTo>
                <a:lnTo>
                  <a:pt x="1655013" y="1352969"/>
                </a:lnTo>
                <a:lnTo>
                  <a:pt x="1696427" y="1324864"/>
                </a:lnTo>
                <a:lnTo>
                  <a:pt x="1738833" y="1298435"/>
                </a:lnTo>
                <a:lnTo>
                  <a:pt x="1782165" y="1273721"/>
                </a:lnTo>
                <a:lnTo>
                  <a:pt x="1826387" y="1250708"/>
                </a:lnTo>
                <a:lnTo>
                  <a:pt x="1871459" y="1229448"/>
                </a:lnTo>
                <a:lnTo>
                  <a:pt x="1917331" y="1209929"/>
                </a:lnTo>
                <a:lnTo>
                  <a:pt x="1963953" y="1192187"/>
                </a:lnTo>
                <a:lnTo>
                  <a:pt x="2011286" y="1176235"/>
                </a:lnTo>
                <a:lnTo>
                  <a:pt x="2059279" y="1162100"/>
                </a:lnTo>
                <a:lnTo>
                  <a:pt x="2107908" y="1149781"/>
                </a:lnTo>
                <a:lnTo>
                  <a:pt x="2157107" y="1139304"/>
                </a:lnTo>
                <a:lnTo>
                  <a:pt x="2206841" y="1130706"/>
                </a:lnTo>
                <a:lnTo>
                  <a:pt x="2257069" y="1123975"/>
                </a:lnTo>
                <a:lnTo>
                  <a:pt x="2307729" y="1119149"/>
                </a:lnTo>
                <a:lnTo>
                  <a:pt x="2358796" y="1116241"/>
                </a:lnTo>
                <a:lnTo>
                  <a:pt x="2410218" y="1115263"/>
                </a:lnTo>
                <a:lnTo>
                  <a:pt x="2461615" y="1116241"/>
                </a:lnTo>
                <a:lnTo>
                  <a:pt x="2512657" y="1119149"/>
                </a:lnTo>
                <a:lnTo>
                  <a:pt x="2563291" y="1123975"/>
                </a:lnTo>
                <a:lnTo>
                  <a:pt x="2613495" y="1130706"/>
                </a:lnTo>
                <a:lnTo>
                  <a:pt x="2663215" y="1139304"/>
                </a:lnTo>
                <a:lnTo>
                  <a:pt x="2712389" y="1149781"/>
                </a:lnTo>
                <a:lnTo>
                  <a:pt x="2761005" y="1162100"/>
                </a:lnTo>
                <a:lnTo>
                  <a:pt x="2808986" y="1176235"/>
                </a:lnTo>
                <a:lnTo>
                  <a:pt x="2856319" y="1192187"/>
                </a:lnTo>
                <a:lnTo>
                  <a:pt x="2902928" y="1209929"/>
                </a:lnTo>
                <a:lnTo>
                  <a:pt x="2948787" y="1229448"/>
                </a:lnTo>
                <a:lnTo>
                  <a:pt x="2993847" y="1250708"/>
                </a:lnTo>
                <a:lnTo>
                  <a:pt x="3038068" y="1273721"/>
                </a:lnTo>
                <a:lnTo>
                  <a:pt x="3081401" y="1298435"/>
                </a:lnTo>
                <a:lnTo>
                  <a:pt x="3123793" y="1324864"/>
                </a:lnTo>
                <a:lnTo>
                  <a:pt x="3165221" y="1352969"/>
                </a:lnTo>
                <a:lnTo>
                  <a:pt x="3205619" y="1382725"/>
                </a:lnTo>
                <a:lnTo>
                  <a:pt x="3244951" y="1414145"/>
                </a:lnTo>
                <a:lnTo>
                  <a:pt x="3283178" y="1447177"/>
                </a:lnTo>
                <a:lnTo>
                  <a:pt x="3320250" y="1481823"/>
                </a:lnTo>
                <a:lnTo>
                  <a:pt x="3897134" y="2042909"/>
                </a:lnTo>
                <a:lnTo>
                  <a:pt x="3897134" y="2043125"/>
                </a:lnTo>
                <a:lnTo>
                  <a:pt x="3897363" y="2043125"/>
                </a:lnTo>
                <a:lnTo>
                  <a:pt x="3897363" y="2042909"/>
                </a:lnTo>
                <a:lnTo>
                  <a:pt x="4474248" y="1481823"/>
                </a:lnTo>
                <a:lnTo>
                  <a:pt x="4511319" y="1447177"/>
                </a:lnTo>
                <a:lnTo>
                  <a:pt x="4549533" y="1414145"/>
                </a:lnTo>
                <a:lnTo>
                  <a:pt x="4588865" y="1382725"/>
                </a:lnTo>
                <a:lnTo>
                  <a:pt x="4629264" y="1352969"/>
                </a:lnTo>
                <a:lnTo>
                  <a:pt x="4670691" y="1324864"/>
                </a:lnTo>
                <a:lnTo>
                  <a:pt x="4713084" y="1298435"/>
                </a:lnTo>
                <a:lnTo>
                  <a:pt x="4756416" y="1273721"/>
                </a:lnTo>
                <a:lnTo>
                  <a:pt x="4800638" y="1250708"/>
                </a:lnTo>
                <a:lnTo>
                  <a:pt x="4845697" y="1229448"/>
                </a:lnTo>
                <a:lnTo>
                  <a:pt x="4891557" y="1209929"/>
                </a:lnTo>
                <a:lnTo>
                  <a:pt x="4938179" y="1192187"/>
                </a:lnTo>
                <a:lnTo>
                  <a:pt x="4985499" y="1176235"/>
                </a:lnTo>
                <a:lnTo>
                  <a:pt x="5033492" y="1162100"/>
                </a:lnTo>
                <a:lnTo>
                  <a:pt x="5082095" y="1149781"/>
                </a:lnTo>
                <a:lnTo>
                  <a:pt x="5131282" y="1139304"/>
                </a:lnTo>
                <a:lnTo>
                  <a:pt x="5180990" y="1130706"/>
                </a:lnTo>
                <a:lnTo>
                  <a:pt x="5231193" y="1123975"/>
                </a:lnTo>
                <a:lnTo>
                  <a:pt x="5281841" y="1119149"/>
                </a:lnTo>
                <a:lnTo>
                  <a:pt x="5332882" y="1116241"/>
                </a:lnTo>
                <a:lnTo>
                  <a:pt x="5384266" y="1115263"/>
                </a:lnTo>
                <a:lnTo>
                  <a:pt x="5435689" y="1116241"/>
                </a:lnTo>
                <a:lnTo>
                  <a:pt x="5486755" y="1119149"/>
                </a:lnTo>
                <a:lnTo>
                  <a:pt x="5537428" y="1123975"/>
                </a:lnTo>
                <a:lnTo>
                  <a:pt x="5587644" y="1130706"/>
                </a:lnTo>
                <a:lnTo>
                  <a:pt x="5637377" y="1139304"/>
                </a:lnTo>
                <a:lnTo>
                  <a:pt x="5686577" y="1149781"/>
                </a:lnTo>
                <a:lnTo>
                  <a:pt x="5735205" y="1162100"/>
                </a:lnTo>
                <a:lnTo>
                  <a:pt x="5783211" y="1176235"/>
                </a:lnTo>
                <a:lnTo>
                  <a:pt x="5816460" y="1187437"/>
                </a:lnTo>
                <a:lnTo>
                  <a:pt x="5816460" y="1115263"/>
                </a:lnTo>
                <a:lnTo>
                  <a:pt x="5816460" y="812927"/>
                </a:lnTo>
                <a:close/>
              </a:path>
              <a:path w="5816600" h="6075680">
                <a:moveTo>
                  <a:pt x="5816460" y="49682"/>
                </a:moveTo>
                <a:lnTo>
                  <a:pt x="5771273" y="40995"/>
                </a:lnTo>
                <a:lnTo>
                  <a:pt x="5725795" y="33108"/>
                </a:lnTo>
                <a:lnTo>
                  <a:pt x="5680214" y="26047"/>
                </a:lnTo>
                <a:lnTo>
                  <a:pt x="5634558" y="19824"/>
                </a:lnTo>
                <a:lnTo>
                  <a:pt x="5588825" y="14452"/>
                </a:lnTo>
                <a:lnTo>
                  <a:pt x="5543042" y="9918"/>
                </a:lnTo>
                <a:lnTo>
                  <a:pt x="5497207" y="6235"/>
                </a:lnTo>
                <a:lnTo>
                  <a:pt x="5451360" y="3403"/>
                </a:lnTo>
                <a:lnTo>
                  <a:pt x="5405488" y="1409"/>
                </a:lnTo>
                <a:lnTo>
                  <a:pt x="5359616" y="279"/>
                </a:lnTo>
                <a:lnTo>
                  <a:pt x="5313756" y="0"/>
                </a:lnTo>
                <a:lnTo>
                  <a:pt x="5267934" y="571"/>
                </a:lnTo>
                <a:lnTo>
                  <a:pt x="5222138" y="2006"/>
                </a:lnTo>
                <a:lnTo>
                  <a:pt x="5176405" y="4305"/>
                </a:lnTo>
                <a:lnTo>
                  <a:pt x="5130749" y="7454"/>
                </a:lnTo>
                <a:lnTo>
                  <a:pt x="5085156" y="11480"/>
                </a:lnTo>
                <a:lnTo>
                  <a:pt x="5039665" y="16357"/>
                </a:lnTo>
                <a:lnTo>
                  <a:pt x="4994287" y="22123"/>
                </a:lnTo>
                <a:lnTo>
                  <a:pt x="4949025" y="28740"/>
                </a:lnTo>
                <a:lnTo>
                  <a:pt x="4903914" y="36245"/>
                </a:lnTo>
                <a:lnTo>
                  <a:pt x="4858931" y="44615"/>
                </a:lnTo>
                <a:lnTo>
                  <a:pt x="4814125" y="53873"/>
                </a:lnTo>
                <a:lnTo>
                  <a:pt x="4769497" y="64008"/>
                </a:lnTo>
                <a:lnTo>
                  <a:pt x="4725060" y="75018"/>
                </a:lnTo>
                <a:lnTo>
                  <a:pt x="4680826" y="86906"/>
                </a:lnTo>
                <a:lnTo>
                  <a:pt x="4636808" y="99695"/>
                </a:lnTo>
                <a:lnTo>
                  <a:pt x="4593018" y="113360"/>
                </a:lnTo>
                <a:lnTo>
                  <a:pt x="4549483" y="127914"/>
                </a:lnTo>
                <a:lnTo>
                  <a:pt x="4506201" y="143370"/>
                </a:lnTo>
                <a:lnTo>
                  <a:pt x="4463186" y="159715"/>
                </a:lnTo>
                <a:lnTo>
                  <a:pt x="4420463" y="176949"/>
                </a:lnTo>
                <a:lnTo>
                  <a:pt x="4378045" y="195097"/>
                </a:lnTo>
                <a:lnTo>
                  <a:pt x="4335932" y="214134"/>
                </a:lnTo>
                <a:lnTo>
                  <a:pt x="4294149" y="234073"/>
                </a:lnTo>
                <a:lnTo>
                  <a:pt x="4252709" y="254914"/>
                </a:lnTo>
                <a:lnTo>
                  <a:pt x="4211625" y="276669"/>
                </a:lnTo>
                <a:lnTo>
                  <a:pt x="4170908" y="299326"/>
                </a:lnTo>
                <a:lnTo>
                  <a:pt x="4130573" y="322897"/>
                </a:lnTo>
                <a:lnTo>
                  <a:pt x="4090644" y="347383"/>
                </a:lnTo>
                <a:lnTo>
                  <a:pt x="4051109" y="372770"/>
                </a:lnTo>
                <a:lnTo>
                  <a:pt x="4012006" y="399084"/>
                </a:lnTo>
                <a:lnTo>
                  <a:pt x="3973334" y="426326"/>
                </a:lnTo>
                <a:lnTo>
                  <a:pt x="3935120" y="454469"/>
                </a:lnTo>
                <a:lnTo>
                  <a:pt x="3897363" y="483552"/>
                </a:lnTo>
                <a:lnTo>
                  <a:pt x="3897363" y="1006538"/>
                </a:lnTo>
                <a:lnTo>
                  <a:pt x="3974084" y="931900"/>
                </a:lnTo>
                <a:lnTo>
                  <a:pt x="4008691" y="899071"/>
                </a:lnTo>
                <a:lnTo>
                  <a:pt x="4043896" y="867270"/>
                </a:lnTo>
                <a:lnTo>
                  <a:pt x="4079697" y="836485"/>
                </a:lnTo>
                <a:lnTo>
                  <a:pt x="4116057" y="806704"/>
                </a:lnTo>
                <a:lnTo>
                  <a:pt x="4152976" y="777951"/>
                </a:lnTo>
                <a:lnTo>
                  <a:pt x="4190415" y="750214"/>
                </a:lnTo>
                <a:lnTo>
                  <a:pt x="4228376" y="723480"/>
                </a:lnTo>
                <a:lnTo>
                  <a:pt x="4266831" y="697763"/>
                </a:lnTo>
                <a:lnTo>
                  <a:pt x="4305770" y="673049"/>
                </a:lnTo>
                <a:lnTo>
                  <a:pt x="4345165" y="649351"/>
                </a:lnTo>
                <a:lnTo>
                  <a:pt x="4385005" y="626656"/>
                </a:lnTo>
                <a:lnTo>
                  <a:pt x="4425264" y="604964"/>
                </a:lnTo>
                <a:lnTo>
                  <a:pt x="4465942" y="584276"/>
                </a:lnTo>
                <a:lnTo>
                  <a:pt x="4506988" y="564591"/>
                </a:lnTo>
                <a:lnTo>
                  <a:pt x="4548416" y="545909"/>
                </a:lnTo>
                <a:lnTo>
                  <a:pt x="4590199" y="528218"/>
                </a:lnTo>
                <a:lnTo>
                  <a:pt x="4632312" y="511517"/>
                </a:lnTo>
                <a:lnTo>
                  <a:pt x="4674743" y="495820"/>
                </a:lnTo>
                <a:lnTo>
                  <a:pt x="4717466" y="481114"/>
                </a:lnTo>
                <a:lnTo>
                  <a:pt x="4760468" y="467398"/>
                </a:lnTo>
                <a:lnTo>
                  <a:pt x="4803737" y="454672"/>
                </a:lnTo>
                <a:lnTo>
                  <a:pt x="4847260" y="442937"/>
                </a:lnTo>
                <a:lnTo>
                  <a:pt x="4890986" y="432193"/>
                </a:lnTo>
                <a:lnTo>
                  <a:pt x="4934940" y="422427"/>
                </a:lnTo>
                <a:lnTo>
                  <a:pt x="4979073" y="413639"/>
                </a:lnTo>
                <a:lnTo>
                  <a:pt x="5023370" y="405841"/>
                </a:lnTo>
                <a:lnTo>
                  <a:pt x="5067833" y="399021"/>
                </a:lnTo>
                <a:lnTo>
                  <a:pt x="5112423" y="393179"/>
                </a:lnTo>
                <a:lnTo>
                  <a:pt x="5157140" y="388315"/>
                </a:lnTo>
                <a:lnTo>
                  <a:pt x="5201945" y="384429"/>
                </a:lnTo>
                <a:lnTo>
                  <a:pt x="5246840" y="381508"/>
                </a:lnTo>
                <a:lnTo>
                  <a:pt x="5291798" y="379564"/>
                </a:lnTo>
                <a:lnTo>
                  <a:pt x="5336794" y="378587"/>
                </a:lnTo>
                <a:lnTo>
                  <a:pt x="5381828" y="378587"/>
                </a:lnTo>
                <a:lnTo>
                  <a:pt x="5426862" y="379539"/>
                </a:lnTo>
                <a:lnTo>
                  <a:pt x="5471884" y="381469"/>
                </a:lnTo>
                <a:lnTo>
                  <a:pt x="5516892" y="384365"/>
                </a:lnTo>
                <a:lnTo>
                  <a:pt x="5561838" y="388213"/>
                </a:lnTo>
                <a:lnTo>
                  <a:pt x="5606732" y="393026"/>
                </a:lnTo>
                <a:lnTo>
                  <a:pt x="5651538" y="398805"/>
                </a:lnTo>
                <a:lnTo>
                  <a:pt x="5696255" y="405523"/>
                </a:lnTo>
                <a:lnTo>
                  <a:pt x="5740844" y="413219"/>
                </a:lnTo>
                <a:lnTo>
                  <a:pt x="5785294" y="421855"/>
                </a:lnTo>
                <a:lnTo>
                  <a:pt x="5816460" y="428599"/>
                </a:lnTo>
                <a:lnTo>
                  <a:pt x="5816460" y="378587"/>
                </a:lnTo>
                <a:lnTo>
                  <a:pt x="5816460" y="49682"/>
                </a:lnTo>
                <a:close/>
              </a:path>
            </a:pathLst>
          </a:custGeom>
          <a:solidFill>
            <a:srgbClr val="FFFFFF">
              <a:alpha val="22999"/>
            </a:srgbClr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8" name="bg object 18"/>
          <p:cNvPicPr/>
          <p:nvPr/>
        </p:nvPicPr>
        <p:blipFill>
          <a:blip r:embed="rId2" cstate="print"/>
          <a:stretch>
            <a:fillRect/>
          </a:stretch>
        </p:blipFill>
        <p:spPr>
          <a:xfrm>
            <a:off x="10318470" y="474010"/>
            <a:ext cx="1415281" cy="955976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476243" y="794784"/>
            <a:ext cx="1427535" cy="350024"/>
          </a:xfrm>
          <a:custGeom>
            <a:avLst/>
            <a:gdLst/>
            <a:ahLst/>
            <a:cxnLst/>
            <a:rect l="l" t="t" r="r" b="b"/>
            <a:pathLst>
              <a:path w="2353945" h="577214">
                <a:moveTo>
                  <a:pt x="615848" y="577088"/>
                </a:moveTo>
                <a:lnTo>
                  <a:pt x="570890" y="224243"/>
                </a:lnTo>
                <a:lnTo>
                  <a:pt x="550722" y="65938"/>
                </a:lnTo>
                <a:lnTo>
                  <a:pt x="545769" y="65938"/>
                </a:lnTo>
                <a:lnTo>
                  <a:pt x="348742" y="443534"/>
                </a:lnTo>
                <a:lnTo>
                  <a:pt x="343789" y="443534"/>
                </a:lnTo>
                <a:lnTo>
                  <a:pt x="227571" y="221754"/>
                </a:lnTo>
                <a:lnTo>
                  <a:pt x="145923" y="65938"/>
                </a:lnTo>
                <a:lnTo>
                  <a:pt x="140982" y="65938"/>
                </a:lnTo>
                <a:lnTo>
                  <a:pt x="75857" y="577088"/>
                </a:lnTo>
                <a:lnTo>
                  <a:pt x="130263" y="577088"/>
                </a:lnTo>
                <a:lnTo>
                  <a:pt x="172313" y="221754"/>
                </a:lnTo>
                <a:lnTo>
                  <a:pt x="339674" y="529272"/>
                </a:lnTo>
                <a:lnTo>
                  <a:pt x="351205" y="529272"/>
                </a:lnTo>
                <a:lnTo>
                  <a:pt x="398246" y="443534"/>
                </a:lnTo>
                <a:lnTo>
                  <a:pt x="518566" y="224243"/>
                </a:lnTo>
                <a:lnTo>
                  <a:pt x="560616" y="577088"/>
                </a:lnTo>
                <a:lnTo>
                  <a:pt x="615848" y="577088"/>
                </a:lnTo>
                <a:close/>
              </a:path>
              <a:path w="2353945" h="577214">
                <a:moveTo>
                  <a:pt x="692518" y="577088"/>
                </a:moveTo>
                <a:lnTo>
                  <a:pt x="620242" y="44500"/>
                </a:lnTo>
                <a:lnTo>
                  <a:pt x="614197" y="0"/>
                </a:lnTo>
                <a:lnTo>
                  <a:pt x="496303" y="0"/>
                </a:lnTo>
                <a:lnTo>
                  <a:pt x="347078" y="302552"/>
                </a:lnTo>
                <a:lnTo>
                  <a:pt x="218414" y="44500"/>
                </a:lnTo>
                <a:lnTo>
                  <a:pt x="196215" y="0"/>
                </a:lnTo>
                <a:lnTo>
                  <a:pt x="78333" y="0"/>
                </a:lnTo>
                <a:lnTo>
                  <a:pt x="0" y="577088"/>
                </a:lnTo>
                <a:lnTo>
                  <a:pt x="54419" y="577088"/>
                </a:lnTo>
                <a:lnTo>
                  <a:pt x="122847" y="44500"/>
                </a:lnTo>
                <a:lnTo>
                  <a:pt x="159118" y="44500"/>
                </a:lnTo>
                <a:lnTo>
                  <a:pt x="346265" y="402310"/>
                </a:lnTo>
                <a:lnTo>
                  <a:pt x="398208" y="302552"/>
                </a:lnTo>
                <a:lnTo>
                  <a:pt x="532587" y="44500"/>
                </a:lnTo>
                <a:lnTo>
                  <a:pt x="568858" y="44500"/>
                </a:lnTo>
                <a:lnTo>
                  <a:pt x="637286" y="577088"/>
                </a:lnTo>
                <a:lnTo>
                  <a:pt x="692518" y="577088"/>
                </a:lnTo>
                <a:close/>
              </a:path>
              <a:path w="2353945" h="577214">
                <a:moveTo>
                  <a:pt x="1386992" y="193116"/>
                </a:moveTo>
                <a:lnTo>
                  <a:pt x="1378419" y="138836"/>
                </a:lnTo>
                <a:lnTo>
                  <a:pt x="1356410" y="94183"/>
                </a:lnTo>
                <a:lnTo>
                  <a:pt x="1354061" y="90487"/>
                </a:lnTo>
                <a:lnTo>
                  <a:pt x="1325181" y="58724"/>
                </a:lnTo>
                <a:lnTo>
                  <a:pt x="1297698" y="38404"/>
                </a:lnTo>
                <a:lnTo>
                  <a:pt x="1297698" y="193116"/>
                </a:lnTo>
                <a:lnTo>
                  <a:pt x="1295704" y="212547"/>
                </a:lnTo>
                <a:lnTo>
                  <a:pt x="1289824" y="230962"/>
                </a:lnTo>
                <a:lnTo>
                  <a:pt x="1280248" y="247942"/>
                </a:lnTo>
                <a:lnTo>
                  <a:pt x="1267180" y="263042"/>
                </a:lnTo>
                <a:lnTo>
                  <a:pt x="1061593" y="458343"/>
                </a:lnTo>
                <a:lnTo>
                  <a:pt x="894816" y="299923"/>
                </a:lnTo>
                <a:lnTo>
                  <a:pt x="894118" y="299212"/>
                </a:lnTo>
                <a:lnTo>
                  <a:pt x="856030" y="263042"/>
                </a:lnTo>
                <a:lnTo>
                  <a:pt x="842949" y="247942"/>
                </a:lnTo>
                <a:lnTo>
                  <a:pt x="833386" y="230962"/>
                </a:lnTo>
                <a:lnTo>
                  <a:pt x="827506" y="212547"/>
                </a:lnTo>
                <a:lnTo>
                  <a:pt x="825512" y="193116"/>
                </a:lnTo>
                <a:lnTo>
                  <a:pt x="833704" y="154647"/>
                </a:lnTo>
                <a:lnTo>
                  <a:pt x="856056" y="123190"/>
                </a:lnTo>
                <a:lnTo>
                  <a:pt x="889165" y="101968"/>
                </a:lnTo>
                <a:lnTo>
                  <a:pt x="929665" y="94183"/>
                </a:lnTo>
                <a:lnTo>
                  <a:pt x="951699" y="96431"/>
                </a:lnTo>
                <a:lnTo>
                  <a:pt x="991438" y="113487"/>
                </a:lnTo>
                <a:lnTo>
                  <a:pt x="1048321" y="171386"/>
                </a:lnTo>
                <a:lnTo>
                  <a:pt x="1051648" y="175031"/>
                </a:lnTo>
                <a:lnTo>
                  <a:pt x="1056538" y="177139"/>
                </a:lnTo>
                <a:lnTo>
                  <a:pt x="1066609" y="177139"/>
                </a:lnTo>
                <a:lnTo>
                  <a:pt x="1071460" y="175069"/>
                </a:lnTo>
                <a:lnTo>
                  <a:pt x="1115402" y="127723"/>
                </a:lnTo>
                <a:lnTo>
                  <a:pt x="1131760" y="113487"/>
                </a:lnTo>
                <a:lnTo>
                  <a:pt x="1150683" y="102958"/>
                </a:lnTo>
                <a:lnTo>
                  <a:pt x="1171511" y="96431"/>
                </a:lnTo>
                <a:lnTo>
                  <a:pt x="1193533" y="94183"/>
                </a:lnTo>
                <a:lnTo>
                  <a:pt x="1234046" y="101968"/>
                </a:lnTo>
                <a:lnTo>
                  <a:pt x="1267155" y="123190"/>
                </a:lnTo>
                <a:lnTo>
                  <a:pt x="1289507" y="154647"/>
                </a:lnTo>
                <a:lnTo>
                  <a:pt x="1297698" y="193116"/>
                </a:lnTo>
                <a:lnTo>
                  <a:pt x="1297698" y="38404"/>
                </a:lnTo>
                <a:lnTo>
                  <a:pt x="1250670" y="17487"/>
                </a:lnTo>
                <a:lnTo>
                  <a:pt x="1212951" y="10248"/>
                </a:lnTo>
                <a:lnTo>
                  <a:pt x="1193533" y="9334"/>
                </a:lnTo>
                <a:lnTo>
                  <a:pt x="1172552" y="10401"/>
                </a:lnTo>
                <a:lnTo>
                  <a:pt x="1132014" y="18821"/>
                </a:lnTo>
                <a:lnTo>
                  <a:pt x="1094740" y="35102"/>
                </a:lnTo>
                <a:lnTo>
                  <a:pt x="1061605" y="58724"/>
                </a:lnTo>
                <a:lnTo>
                  <a:pt x="1056411" y="54127"/>
                </a:lnTo>
                <a:lnTo>
                  <a:pt x="1019644" y="30403"/>
                </a:lnTo>
                <a:lnTo>
                  <a:pt x="971181" y="13563"/>
                </a:lnTo>
                <a:lnTo>
                  <a:pt x="929665" y="9334"/>
                </a:lnTo>
                <a:lnTo>
                  <a:pt x="910247" y="10248"/>
                </a:lnTo>
                <a:lnTo>
                  <a:pt x="872528" y="17487"/>
                </a:lnTo>
                <a:lnTo>
                  <a:pt x="821651" y="40627"/>
                </a:lnTo>
                <a:lnTo>
                  <a:pt x="780275" y="76339"/>
                </a:lnTo>
                <a:lnTo>
                  <a:pt x="751420" y="121577"/>
                </a:lnTo>
                <a:lnTo>
                  <a:pt x="737171" y="174663"/>
                </a:lnTo>
                <a:lnTo>
                  <a:pt x="736206" y="193116"/>
                </a:lnTo>
                <a:lnTo>
                  <a:pt x="737171" y="211556"/>
                </a:lnTo>
                <a:lnTo>
                  <a:pt x="751420" y="264642"/>
                </a:lnTo>
                <a:lnTo>
                  <a:pt x="779665" y="309156"/>
                </a:lnTo>
                <a:lnTo>
                  <a:pt x="1061605" y="571398"/>
                </a:lnTo>
                <a:lnTo>
                  <a:pt x="1183957" y="458343"/>
                </a:lnTo>
                <a:lnTo>
                  <a:pt x="1330655" y="322783"/>
                </a:lnTo>
                <a:lnTo>
                  <a:pt x="1363840" y="280339"/>
                </a:lnTo>
                <a:lnTo>
                  <a:pt x="1383169" y="229679"/>
                </a:lnTo>
                <a:lnTo>
                  <a:pt x="1386039" y="211556"/>
                </a:lnTo>
                <a:lnTo>
                  <a:pt x="1386992" y="193116"/>
                </a:lnTo>
                <a:close/>
              </a:path>
              <a:path w="2353945" h="577214">
                <a:moveTo>
                  <a:pt x="1824431" y="577088"/>
                </a:moveTo>
                <a:lnTo>
                  <a:pt x="1646936" y="313270"/>
                </a:lnTo>
                <a:lnTo>
                  <a:pt x="1643049" y="307505"/>
                </a:lnTo>
                <a:lnTo>
                  <a:pt x="1667789" y="307505"/>
                </a:lnTo>
                <a:lnTo>
                  <a:pt x="1723021" y="299669"/>
                </a:lnTo>
                <a:lnTo>
                  <a:pt x="1765071" y="276174"/>
                </a:lnTo>
                <a:lnTo>
                  <a:pt x="1791652" y="239077"/>
                </a:lnTo>
                <a:lnTo>
                  <a:pt x="1800529" y="190423"/>
                </a:lnTo>
                <a:lnTo>
                  <a:pt x="1798053" y="163931"/>
                </a:lnTo>
                <a:lnTo>
                  <a:pt x="1778469" y="120357"/>
                </a:lnTo>
                <a:lnTo>
                  <a:pt x="1743633" y="91503"/>
                </a:lnTo>
                <a:lnTo>
                  <a:pt x="1743633" y="195376"/>
                </a:lnTo>
                <a:lnTo>
                  <a:pt x="1742198" y="211861"/>
                </a:lnTo>
                <a:lnTo>
                  <a:pt x="1720545" y="251447"/>
                </a:lnTo>
                <a:lnTo>
                  <a:pt x="1678495" y="271538"/>
                </a:lnTo>
                <a:lnTo>
                  <a:pt x="1661185" y="272872"/>
                </a:lnTo>
                <a:lnTo>
                  <a:pt x="1584528" y="272872"/>
                </a:lnTo>
                <a:lnTo>
                  <a:pt x="1584528" y="120357"/>
                </a:lnTo>
                <a:lnTo>
                  <a:pt x="1653781" y="120357"/>
                </a:lnTo>
                <a:lnTo>
                  <a:pt x="1706092" y="131953"/>
                </a:lnTo>
                <a:lnTo>
                  <a:pt x="1737550" y="164884"/>
                </a:lnTo>
                <a:lnTo>
                  <a:pt x="1743633" y="195376"/>
                </a:lnTo>
                <a:lnTo>
                  <a:pt x="1743633" y="91503"/>
                </a:lnTo>
                <a:lnTo>
                  <a:pt x="1739353" y="88747"/>
                </a:lnTo>
                <a:lnTo>
                  <a:pt x="1714157" y="78828"/>
                </a:lnTo>
                <a:lnTo>
                  <a:pt x="1685353" y="72872"/>
                </a:lnTo>
                <a:lnTo>
                  <a:pt x="1652955" y="70891"/>
                </a:lnTo>
                <a:lnTo>
                  <a:pt x="1528457" y="70891"/>
                </a:lnTo>
                <a:lnTo>
                  <a:pt x="1528457" y="577088"/>
                </a:lnTo>
                <a:lnTo>
                  <a:pt x="1584528" y="577088"/>
                </a:lnTo>
                <a:lnTo>
                  <a:pt x="1584528" y="313270"/>
                </a:lnTo>
                <a:lnTo>
                  <a:pt x="1760131" y="577088"/>
                </a:lnTo>
                <a:lnTo>
                  <a:pt x="1824431" y="577088"/>
                </a:lnTo>
                <a:close/>
              </a:path>
              <a:path w="2353945" h="577214">
                <a:moveTo>
                  <a:pt x="1912632" y="577088"/>
                </a:moveTo>
                <a:lnTo>
                  <a:pt x="1759305" y="354495"/>
                </a:lnTo>
                <a:lnTo>
                  <a:pt x="1785861" y="343027"/>
                </a:lnTo>
                <a:lnTo>
                  <a:pt x="1809483" y="328422"/>
                </a:lnTo>
                <a:lnTo>
                  <a:pt x="1847926" y="289775"/>
                </a:lnTo>
                <a:lnTo>
                  <a:pt x="1872348" y="241452"/>
                </a:lnTo>
                <a:lnTo>
                  <a:pt x="1880489" y="186309"/>
                </a:lnTo>
                <a:lnTo>
                  <a:pt x="1878761" y="159880"/>
                </a:lnTo>
                <a:lnTo>
                  <a:pt x="1864956" y="111645"/>
                </a:lnTo>
                <a:lnTo>
                  <a:pt x="1837690" y="69964"/>
                </a:lnTo>
                <a:lnTo>
                  <a:pt x="1799158" y="36995"/>
                </a:lnTo>
                <a:lnTo>
                  <a:pt x="1749971" y="13436"/>
                </a:lnTo>
                <a:lnTo>
                  <a:pt x="1691855" y="1485"/>
                </a:lnTo>
                <a:lnTo>
                  <a:pt x="1659547" y="0"/>
                </a:lnTo>
                <a:lnTo>
                  <a:pt x="1450962" y="0"/>
                </a:lnTo>
                <a:lnTo>
                  <a:pt x="1450962" y="577088"/>
                </a:lnTo>
                <a:lnTo>
                  <a:pt x="1507032" y="577088"/>
                </a:lnTo>
                <a:lnTo>
                  <a:pt x="1507032" y="49453"/>
                </a:lnTo>
                <a:lnTo>
                  <a:pt x="1646351" y="49453"/>
                </a:lnTo>
                <a:lnTo>
                  <a:pt x="1685721" y="51752"/>
                </a:lnTo>
                <a:lnTo>
                  <a:pt x="1750847" y="70104"/>
                </a:lnTo>
                <a:lnTo>
                  <a:pt x="1797177" y="106426"/>
                </a:lnTo>
                <a:lnTo>
                  <a:pt x="1820672" y="158572"/>
                </a:lnTo>
                <a:lnTo>
                  <a:pt x="1823605" y="190423"/>
                </a:lnTo>
                <a:lnTo>
                  <a:pt x="1822475" y="209321"/>
                </a:lnTo>
                <a:lnTo>
                  <a:pt x="1805470" y="260108"/>
                </a:lnTo>
                <a:lnTo>
                  <a:pt x="1771078" y="299059"/>
                </a:lnTo>
                <a:lnTo>
                  <a:pt x="1723542" y="322033"/>
                </a:lnTo>
                <a:lnTo>
                  <a:pt x="1686750" y="326466"/>
                </a:lnTo>
                <a:lnTo>
                  <a:pt x="1680159" y="326466"/>
                </a:lnTo>
                <a:lnTo>
                  <a:pt x="1848332" y="577088"/>
                </a:lnTo>
                <a:lnTo>
                  <a:pt x="1912632" y="577088"/>
                </a:lnTo>
                <a:close/>
              </a:path>
              <a:path w="2353945" h="577214">
                <a:moveTo>
                  <a:pt x="2345461" y="70891"/>
                </a:moveTo>
                <a:lnTo>
                  <a:pt x="2039594" y="70891"/>
                </a:lnTo>
                <a:lnTo>
                  <a:pt x="2039594" y="276999"/>
                </a:lnTo>
                <a:lnTo>
                  <a:pt x="2328976" y="276999"/>
                </a:lnTo>
                <a:lnTo>
                  <a:pt x="2328976" y="228358"/>
                </a:lnTo>
                <a:lnTo>
                  <a:pt x="2095665" y="228358"/>
                </a:lnTo>
                <a:lnTo>
                  <a:pt x="2095665" y="120357"/>
                </a:lnTo>
                <a:lnTo>
                  <a:pt x="2345461" y="120357"/>
                </a:lnTo>
                <a:lnTo>
                  <a:pt x="2345461" y="70891"/>
                </a:lnTo>
                <a:close/>
              </a:path>
              <a:path w="2353945" h="577214">
                <a:moveTo>
                  <a:pt x="2353703" y="527621"/>
                </a:moveTo>
                <a:lnTo>
                  <a:pt x="2018169" y="527621"/>
                </a:lnTo>
                <a:lnTo>
                  <a:pt x="2018169" y="49453"/>
                </a:lnTo>
                <a:lnTo>
                  <a:pt x="2345461" y="49453"/>
                </a:lnTo>
                <a:lnTo>
                  <a:pt x="2345461" y="0"/>
                </a:lnTo>
                <a:lnTo>
                  <a:pt x="1962099" y="0"/>
                </a:lnTo>
                <a:lnTo>
                  <a:pt x="1962099" y="577088"/>
                </a:lnTo>
                <a:lnTo>
                  <a:pt x="2353703" y="577088"/>
                </a:lnTo>
                <a:lnTo>
                  <a:pt x="2353703" y="527621"/>
                </a:lnTo>
                <a:close/>
              </a:path>
              <a:path w="2353945" h="577214">
                <a:moveTo>
                  <a:pt x="2353703" y="456730"/>
                </a:moveTo>
                <a:lnTo>
                  <a:pt x="2095665" y="456730"/>
                </a:lnTo>
                <a:lnTo>
                  <a:pt x="2095665" y="347078"/>
                </a:lnTo>
                <a:lnTo>
                  <a:pt x="2328976" y="347078"/>
                </a:lnTo>
                <a:lnTo>
                  <a:pt x="2328976" y="298437"/>
                </a:lnTo>
                <a:lnTo>
                  <a:pt x="2039594" y="298437"/>
                </a:lnTo>
                <a:lnTo>
                  <a:pt x="2039594" y="506183"/>
                </a:lnTo>
                <a:lnTo>
                  <a:pt x="2353703" y="506183"/>
                </a:lnTo>
                <a:lnTo>
                  <a:pt x="2353703" y="456730"/>
                </a:lnTo>
                <a:close/>
              </a:path>
            </a:pathLst>
          </a:custGeom>
          <a:solidFill>
            <a:srgbClr val="FFE31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0" name="bg object 20"/>
          <p:cNvSpPr/>
          <p:nvPr/>
        </p:nvSpPr>
        <p:spPr>
          <a:xfrm>
            <a:off x="922717" y="800444"/>
            <a:ext cx="394719" cy="341167"/>
          </a:xfrm>
          <a:custGeom>
            <a:avLst/>
            <a:gdLst/>
            <a:ahLst/>
            <a:cxnLst/>
            <a:rect l="l" t="t" r="r" b="b"/>
            <a:pathLst>
              <a:path w="650875" h="562610">
                <a:moveTo>
                  <a:pt x="635572" y="112237"/>
                </a:moveTo>
                <a:lnTo>
                  <a:pt x="606711" y="66995"/>
                </a:lnTo>
                <a:lnTo>
                  <a:pt x="565344" y="31281"/>
                </a:lnTo>
                <a:lnTo>
                  <a:pt x="514459" y="8145"/>
                </a:lnTo>
                <a:lnTo>
                  <a:pt x="476743" y="909"/>
                </a:lnTo>
                <a:lnTo>
                  <a:pt x="457326" y="0"/>
                </a:lnTo>
                <a:lnTo>
                  <a:pt x="436346" y="1059"/>
                </a:lnTo>
                <a:lnTo>
                  <a:pt x="395805" y="9484"/>
                </a:lnTo>
                <a:lnTo>
                  <a:pt x="358524" y="25759"/>
                </a:lnTo>
                <a:lnTo>
                  <a:pt x="325393" y="49391"/>
                </a:lnTo>
                <a:lnTo>
                  <a:pt x="320199" y="44794"/>
                </a:lnTo>
                <a:lnTo>
                  <a:pt x="283439" y="21061"/>
                </a:lnTo>
                <a:lnTo>
                  <a:pt x="234965" y="4226"/>
                </a:lnTo>
                <a:lnTo>
                  <a:pt x="193460" y="0"/>
                </a:lnTo>
                <a:lnTo>
                  <a:pt x="174038" y="909"/>
                </a:lnTo>
                <a:lnTo>
                  <a:pt x="136320" y="8145"/>
                </a:lnTo>
                <a:lnTo>
                  <a:pt x="85435" y="31285"/>
                </a:lnTo>
                <a:lnTo>
                  <a:pt x="44064" y="67001"/>
                </a:lnTo>
                <a:lnTo>
                  <a:pt x="15214" y="112237"/>
                </a:lnTo>
                <a:lnTo>
                  <a:pt x="956" y="165324"/>
                </a:lnTo>
                <a:lnTo>
                  <a:pt x="0" y="183774"/>
                </a:lnTo>
                <a:lnTo>
                  <a:pt x="957" y="202223"/>
                </a:lnTo>
                <a:lnTo>
                  <a:pt x="15214" y="255301"/>
                </a:lnTo>
                <a:lnTo>
                  <a:pt x="43454" y="299816"/>
                </a:lnTo>
                <a:lnTo>
                  <a:pt x="55746" y="312817"/>
                </a:lnTo>
                <a:lnTo>
                  <a:pt x="56029" y="313131"/>
                </a:lnTo>
                <a:lnTo>
                  <a:pt x="56333" y="313445"/>
                </a:lnTo>
                <a:lnTo>
                  <a:pt x="56647" y="313749"/>
                </a:lnTo>
                <a:lnTo>
                  <a:pt x="325393" y="562056"/>
                </a:lnTo>
                <a:lnTo>
                  <a:pt x="594128" y="313749"/>
                </a:lnTo>
                <a:lnTo>
                  <a:pt x="594379" y="313508"/>
                </a:lnTo>
                <a:lnTo>
                  <a:pt x="594610" y="313278"/>
                </a:lnTo>
                <a:lnTo>
                  <a:pt x="594840" y="313027"/>
                </a:lnTo>
                <a:lnTo>
                  <a:pt x="594987" y="312870"/>
                </a:lnTo>
                <a:lnTo>
                  <a:pt x="607344" y="299797"/>
                </a:lnTo>
                <a:lnTo>
                  <a:pt x="635561" y="255301"/>
                </a:lnTo>
                <a:lnTo>
                  <a:pt x="649828" y="202223"/>
                </a:lnTo>
                <a:lnTo>
                  <a:pt x="650786" y="183774"/>
                </a:lnTo>
                <a:lnTo>
                  <a:pt x="649828" y="165324"/>
                </a:lnTo>
                <a:lnTo>
                  <a:pt x="646964" y="147208"/>
                </a:lnTo>
                <a:lnTo>
                  <a:pt x="642207" y="129491"/>
                </a:lnTo>
                <a:lnTo>
                  <a:pt x="635572" y="112237"/>
                </a:lnTo>
                <a:close/>
              </a:path>
              <a:path w="650875" h="562610">
                <a:moveTo>
                  <a:pt x="561490" y="183774"/>
                </a:moveTo>
                <a:lnTo>
                  <a:pt x="553611" y="221628"/>
                </a:lnTo>
                <a:lnTo>
                  <a:pt x="530968" y="253709"/>
                </a:lnTo>
                <a:lnTo>
                  <a:pt x="325382" y="449002"/>
                </a:lnTo>
                <a:lnTo>
                  <a:pt x="158770" y="290766"/>
                </a:lnTo>
                <a:lnTo>
                  <a:pt x="158602" y="290588"/>
                </a:lnTo>
                <a:lnTo>
                  <a:pt x="158382" y="290347"/>
                </a:lnTo>
                <a:lnTo>
                  <a:pt x="158141" y="290106"/>
                </a:lnTo>
                <a:lnTo>
                  <a:pt x="157900" y="289875"/>
                </a:lnTo>
                <a:lnTo>
                  <a:pt x="119818" y="253699"/>
                </a:lnTo>
                <a:lnTo>
                  <a:pt x="106744" y="238600"/>
                </a:lnTo>
                <a:lnTo>
                  <a:pt x="97175" y="221626"/>
                </a:lnTo>
                <a:lnTo>
                  <a:pt x="91296" y="203208"/>
                </a:lnTo>
                <a:lnTo>
                  <a:pt x="89295" y="183774"/>
                </a:lnTo>
                <a:lnTo>
                  <a:pt x="97494" y="145306"/>
                </a:lnTo>
                <a:lnTo>
                  <a:pt x="119840" y="113856"/>
                </a:lnTo>
                <a:lnTo>
                  <a:pt x="152954" y="92633"/>
                </a:lnTo>
                <a:lnTo>
                  <a:pt x="193460" y="84845"/>
                </a:lnTo>
                <a:lnTo>
                  <a:pt x="215483" y="87089"/>
                </a:lnTo>
                <a:lnTo>
                  <a:pt x="255231" y="104154"/>
                </a:lnTo>
                <a:lnTo>
                  <a:pt x="312116" y="162047"/>
                </a:lnTo>
                <a:lnTo>
                  <a:pt x="315435" y="165691"/>
                </a:lnTo>
                <a:lnTo>
                  <a:pt x="320325" y="167806"/>
                </a:lnTo>
                <a:lnTo>
                  <a:pt x="325393" y="167806"/>
                </a:lnTo>
                <a:lnTo>
                  <a:pt x="330398" y="167806"/>
                </a:lnTo>
                <a:lnTo>
                  <a:pt x="335246" y="165733"/>
                </a:lnTo>
                <a:lnTo>
                  <a:pt x="379192" y="118383"/>
                </a:lnTo>
                <a:lnTo>
                  <a:pt x="414474" y="93624"/>
                </a:lnTo>
                <a:lnTo>
                  <a:pt x="457326" y="84845"/>
                </a:lnTo>
                <a:lnTo>
                  <a:pt x="497831" y="92633"/>
                </a:lnTo>
                <a:lnTo>
                  <a:pt x="530945" y="113856"/>
                </a:lnTo>
                <a:lnTo>
                  <a:pt x="553291" y="145306"/>
                </a:lnTo>
                <a:lnTo>
                  <a:pt x="561490" y="183774"/>
                </a:lnTo>
                <a:close/>
              </a:path>
            </a:pathLst>
          </a:custGeom>
          <a:ln w="35423">
            <a:solidFill>
              <a:srgbClr val="FFE31F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1" name="bg object 21"/>
          <p:cNvSpPr/>
          <p:nvPr/>
        </p:nvSpPr>
        <p:spPr>
          <a:xfrm>
            <a:off x="949475" y="825617"/>
            <a:ext cx="341191" cy="284178"/>
          </a:xfrm>
          <a:custGeom>
            <a:avLst/>
            <a:gdLst/>
            <a:ahLst/>
            <a:cxnLst/>
            <a:rect l="l" t="t" r="r" b="b"/>
            <a:pathLst>
              <a:path w="562610" h="468630">
                <a:moveTo>
                  <a:pt x="71620" y="269038"/>
                </a:moveTo>
                <a:lnTo>
                  <a:pt x="43768" y="242484"/>
                </a:lnTo>
                <a:lnTo>
                  <a:pt x="25024" y="220802"/>
                </a:lnTo>
                <a:lnTo>
                  <a:pt x="11302" y="196424"/>
                </a:lnTo>
                <a:lnTo>
                  <a:pt x="2870" y="169967"/>
                </a:lnTo>
                <a:lnTo>
                  <a:pt x="0" y="142048"/>
                </a:lnTo>
                <a:lnTo>
                  <a:pt x="7625" y="97199"/>
                </a:lnTo>
                <a:lnTo>
                  <a:pt x="28851" y="58211"/>
                </a:lnTo>
                <a:lnTo>
                  <a:pt x="61197" y="27444"/>
                </a:lnTo>
                <a:lnTo>
                  <a:pt x="102185" y="7254"/>
                </a:lnTo>
                <a:lnTo>
                  <a:pt x="149335" y="0"/>
                </a:lnTo>
                <a:lnTo>
                  <a:pt x="180914" y="3219"/>
                </a:lnTo>
                <a:lnTo>
                  <a:pt x="210759" y="12596"/>
                </a:lnTo>
                <a:lnTo>
                  <a:pt x="237888" y="27705"/>
                </a:lnTo>
                <a:lnTo>
                  <a:pt x="261321" y="48124"/>
                </a:lnTo>
                <a:lnTo>
                  <a:pt x="281268" y="69641"/>
                </a:lnTo>
                <a:lnTo>
                  <a:pt x="301205" y="48124"/>
                </a:lnTo>
                <a:lnTo>
                  <a:pt x="324644" y="27705"/>
                </a:lnTo>
                <a:lnTo>
                  <a:pt x="351777" y="12596"/>
                </a:lnTo>
                <a:lnTo>
                  <a:pt x="381622" y="3219"/>
                </a:lnTo>
                <a:lnTo>
                  <a:pt x="413202" y="0"/>
                </a:lnTo>
                <a:lnTo>
                  <a:pt x="460352" y="7254"/>
                </a:lnTo>
                <a:lnTo>
                  <a:pt x="501340" y="27444"/>
                </a:lnTo>
                <a:lnTo>
                  <a:pt x="533686" y="58211"/>
                </a:lnTo>
                <a:lnTo>
                  <a:pt x="554911" y="97199"/>
                </a:lnTo>
                <a:lnTo>
                  <a:pt x="562537" y="142048"/>
                </a:lnTo>
                <a:lnTo>
                  <a:pt x="559667" y="169967"/>
                </a:lnTo>
                <a:lnTo>
                  <a:pt x="551235" y="196424"/>
                </a:lnTo>
                <a:lnTo>
                  <a:pt x="537513" y="220802"/>
                </a:lnTo>
                <a:lnTo>
                  <a:pt x="518769" y="242484"/>
                </a:lnTo>
                <a:lnTo>
                  <a:pt x="281268" y="468394"/>
                </a:lnTo>
                <a:lnTo>
                  <a:pt x="71620" y="269038"/>
                </a:lnTo>
                <a:close/>
              </a:path>
            </a:pathLst>
          </a:custGeom>
          <a:ln w="14167">
            <a:solidFill>
              <a:srgbClr val="DA202A"/>
            </a:solidFill>
          </a:ln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2" name="bg object 22"/>
          <p:cNvSpPr/>
          <p:nvPr/>
        </p:nvSpPr>
        <p:spPr>
          <a:xfrm>
            <a:off x="476253" y="476219"/>
            <a:ext cx="1432926" cy="207935"/>
          </a:xfrm>
          <a:custGeom>
            <a:avLst/>
            <a:gdLst/>
            <a:ahLst/>
            <a:cxnLst/>
            <a:rect l="l" t="t" r="r" b="b"/>
            <a:pathLst>
              <a:path w="2362835" h="342900">
                <a:moveTo>
                  <a:pt x="584442" y="87358"/>
                </a:moveTo>
                <a:lnTo>
                  <a:pt x="535256" y="96692"/>
                </a:lnTo>
                <a:lnTo>
                  <a:pt x="495386" y="123511"/>
                </a:lnTo>
                <a:lnTo>
                  <a:pt x="468923" y="163761"/>
                </a:lnTo>
                <a:lnTo>
                  <a:pt x="459703" y="214433"/>
                </a:lnTo>
                <a:lnTo>
                  <a:pt x="460710" y="232994"/>
                </a:lnTo>
                <a:lnTo>
                  <a:pt x="475828" y="281478"/>
                </a:lnTo>
                <a:lnTo>
                  <a:pt x="507227" y="317478"/>
                </a:lnTo>
                <a:lnTo>
                  <a:pt x="552207" y="338420"/>
                </a:lnTo>
                <a:lnTo>
                  <a:pt x="588181" y="342450"/>
                </a:lnTo>
                <a:lnTo>
                  <a:pt x="602371" y="341822"/>
                </a:lnTo>
                <a:lnTo>
                  <a:pt x="641446" y="332398"/>
                </a:lnTo>
                <a:lnTo>
                  <a:pt x="682324" y="304367"/>
                </a:lnTo>
                <a:lnTo>
                  <a:pt x="697605" y="281708"/>
                </a:lnTo>
                <a:lnTo>
                  <a:pt x="588181" y="281708"/>
                </a:lnTo>
                <a:lnTo>
                  <a:pt x="577624" y="280935"/>
                </a:lnTo>
                <a:lnTo>
                  <a:pt x="544075" y="262515"/>
                </a:lnTo>
                <a:lnTo>
                  <a:pt x="530716" y="234526"/>
                </a:lnTo>
                <a:lnTo>
                  <a:pt x="709182" y="234526"/>
                </a:lnTo>
                <a:lnTo>
                  <a:pt x="709107" y="214433"/>
                </a:lnTo>
                <a:lnTo>
                  <a:pt x="708189" y="197285"/>
                </a:lnTo>
                <a:lnTo>
                  <a:pt x="706562" y="187805"/>
                </a:lnTo>
                <a:lnTo>
                  <a:pt x="532591" y="187805"/>
                </a:lnTo>
                <a:lnTo>
                  <a:pt x="535905" y="178786"/>
                </a:lnTo>
                <a:lnTo>
                  <a:pt x="566978" y="150668"/>
                </a:lnTo>
                <a:lnTo>
                  <a:pt x="584442" y="148100"/>
                </a:lnTo>
                <a:lnTo>
                  <a:pt x="692855" y="148100"/>
                </a:lnTo>
                <a:lnTo>
                  <a:pt x="684598" y="135201"/>
                </a:lnTo>
                <a:lnTo>
                  <a:pt x="649383" y="103714"/>
                </a:lnTo>
                <a:lnTo>
                  <a:pt x="602343" y="88381"/>
                </a:lnTo>
                <a:lnTo>
                  <a:pt x="584442" y="87358"/>
                </a:lnTo>
                <a:close/>
              </a:path>
              <a:path w="2362835" h="342900">
                <a:moveTo>
                  <a:pt x="78950" y="9340"/>
                </a:moveTo>
                <a:lnTo>
                  <a:pt x="0" y="9340"/>
                </a:lnTo>
                <a:lnTo>
                  <a:pt x="104174" y="336377"/>
                </a:lnTo>
                <a:lnTo>
                  <a:pt x="169586" y="336377"/>
                </a:lnTo>
                <a:lnTo>
                  <a:pt x="216007" y="220977"/>
                </a:lnTo>
                <a:lnTo>
                  <a:pt x="144362" y="220977"/>
                </a:lnTo>
                <a:lnTo>
                  <a:pt x="78950" y="9340"/>
                </a:lnTo>
                <a:close/>
              </a:path>
              <a:path w="2362835" h="342900">
                <a:moveTo>
                  <a:pt x="306513" y="173795"/>
                </a:moveTo>
                <a:lnTo>
                  <a:pt x="234987" y="173795"/>
                </a:lnTo>
                <a:lnTo>
                  <a:pt x="300399" y="336377"/>
                </a:lnTo>
                <a:lnTo>
                  <a:pt x="365810" y="336377"/>
                </a:lnTo>
                <a:lnTo>
                  <a:pt x="402123" y="222380"/>
                </a:lnTo>
                <a:lnTo>
                  <a:pt x="326094" y="222380"/>
                </a:lnTo>
                <a:lnTo>
                  <a:pt x="306513" y="173795"/>
                </a:lnTo>
                <a:close/>
              </a:path>
              <a:path w="2362835" h="342900">
                <a:moveTo>
                  <a:pt x="704512" y="262557"/>
                </a:moveTo>
                <a:lnTo>
                  <a:pt x="628829" y="262557"/>
                </a:lnTo>
                <a:lnTo>
                  <a:pt x="622083" y="270939"/>
                </a:lnTo>
                <a:lnTo>
                  <a:pt x="613059" y="276923"/>
                </a:lnTo>
                <a:lnTo>
                  <a:pt x="601759" y="280512"/>
                </a:lnTo>
                <a:lnTo>
                  <a:pt x="588181" y="281708"/>
                </a:lnTo>
                <a:lnTo>
                  <a:pt x="697605" y="281708"/>
                </a:lnTo>
                <a:lnTo>
                  <a:pt x="701022" y="274107"/>
                </a:lnTo>
                <a:lnTo>
                  <a:pt x="704512" y="262557"/>
                </a:lnTo>
                <a:close/>
              </a:path>
              <a:path w="2362835" h="342900">
                <a:moveTo>
                  <a:pt x="469985" y="9340"/>
                </a:moveTo>
                <a:lnTo>
                  <a:pt x="391967" y="9340"/>
                </a:lnTo>
                <a:lnTo>
                  <a:pt x="326094" y="222380"/>
                </a:lnTo>
                <a:lnTo>
                  <a:pt x="402123" y="222380"/>
                </a:lnTo>
                <a:lnTo>
                  <a:pt x="469985" y="9340"/>
                </a:lnTo>
                <a:close/>
              </a:path>
              <a:path w="2362835" h="342900">
                <a:moveTo>
                  <a:pt x="238725" y="5601"/>
                </a:moveTo>
                <a:lnTo>
                  <a:pt x="232191" y="5601"/>
                </a:lnTo>
                <a:lnTo>
                  <a:pt x="144362" y="220977"/>
                </a:lnTo>
                <a:lnTo>
                  <a:pt x="216007" y="220977"/>
                </a:lnTo>
                <a:lnTo>
                  <a:pt x="234987" y="173795"/>
                </a:lnTo>
                <a:lnTo>
                  <a:pt x="306513" y="173795"/>
                </a:lnTo>
                <a:lnTo>
                  <a:pt x="238725" y="5601"/>
                </a:lnTo>
                <a:close/>
              </a:path>
              <a:path w="2362835" h="342900">
                <a:moveTo>
                  <a:pt x="692855" y="148100"/>
                </a:moveTo>
                <a:lnTo>
                  <a:pt x="584442" y="148100"/>
                </a:lnTo>
                <a:lnTo>
                  <a:pt x="593701" y="148742"/>
                </a:lnTo>
                <a:lnTo>
                  <a:pt x="602316" y="150668"/>
                </a:lnTo>
                <a:lnTo>
                  <a:pt x="633383" y="178786"/>
                </a:lnTo>
                <a:lnTo>
                  <a:pt x="636305" y="187805"/>
                </a:lnTo>
                <a:lnTo>
                  <a:pt x="706562" y="187805"/>
                </a:lnTo>
                <a:lnTo>
                  <a:pt x="705210" y="179926"/>
                </a:lnTo>
                <a:lnTo>
                  <a:pt x="700246" y="163761"/>
                </a:lnTo>
                <a:lnTo>
                  <a:pt x="693266" y="148742"/>
                </a:lnTo>
                <a:lnTo>
                  <a:pt x="692855" y="148100"/>
                </a:lnTo>
                <a:close/>
              </a:path>
              <a:path w="2362835" h="342900">
                <a:moveTo>
                  <a:pt x="949321" y="87358"/>
                </a:moveTo>
                <a:lnTo>
                  <a:pt x="907888" y="96692"/>
                </a:lnTo>
                <a:lnTo>
                  <a:pt x="874337" y="123624"/>
                </a:lnTo>
                <a:lnTo>
                  <a:pt x="852285" y="164447"/>
                </a:lnTo>
                <a:lnTo>
                  <a:pt x="844665" y="214904"/>
                </a:lnTo>
                <a:lnTo>
                  <a:pt x="845511" y="232642"/>
                </a:lnTo>
                <a:lnTo>
                  <a:pt x="858214" y="280075"/>
                </a:lnTo>
                <a:lnTo>
                  <a:pt x="884324" y="316474"/>
                </a:lnTo>
                <a:lnTo>
                  <a:pt x="920939" y="338242"/>
                </a:lnTo>
                <a:lnTo>
                  <a:pt x="949321" y="342450"/>
                </a:lnTo>
                <a:lnTo>
                  <a:pt x="961872" y="341515"/>
                </a:lnTo>
                <a:lnTo>
                  <a:pt x="1005820" y="319147"/>
                </a:lnTo>
                <a:lnTo>
                  <a:pt x="1026408" y="283582"/>
                </a:lnTo>
                <a:lnTo>
                  <a:pt x="1098353" y="283582"/>
                </a:lnTo>
                <a:lnTo>
                  <a:pt x="1098353" y="277038"/>
                </a:lnTo>
                <a:lnTo>
                  <a:pt x="976420" y="277038"/>
                </a:lnTo>
                <a:lnTo>
                  <a:pt x="964709" y="275958"/>
                </a:lnTo>
                <a:lnTo>
                  <a:pt x="927275" y="250468"/>
                </a:lnTo>
                <a:lnTo>
                  <a:pt x="917553" y="214904"/>
                </a:lnTo>
                <a:lnTo>
                  <a:pt x="918633" y="201764"/>
                </a:lnTo>
                <a:lnTo>
                  <a:pt x="943918" y="162497"/>
                </a:lnTo>
                <a:lnTo>
                  <a:pt x="976420" y="152770"/>
                </a:lnTo>
                <a:lnTo>
                  <a:pt x="1098353" y="152770"/>
                </a:lnTo>
                <a:lnTo>
                  <a:pt x="1098353" y="146225"/>
                </a:lnTo>
                <a:lnTo>
                  <a:pt x="1026408" y="146225"/>
                </a:lnTo>
                <a:lnTo>
                  <a:pt x="1021001" y="132620"/>
                </a:lnTo>
                <a:lnTo>
                  <a:pt x="1014139" y="120765"/>
                </a:lnTo>
                <a:lnTo>
                  <a:pt x="985235" y="95769"/>
                </a:lnTo>
                <a:lnTo>
                  <a:pt x="961872" y="88293"/>
                </a:lnTo>
                <a:lnTo>
                  <a:pt x="949321" y="87358"/>
                </a:lnTo>
                <a:close/>
              </a:path>
              <a:path w="2362835" h="342900">
                <a:moveTo>
                  <a:pt x="1098353" y="283582"/>
                </a:moveTo>
                <a:lnTo>
                  <a:pt x="1026408" y="283582"/>
                </a:lnTo>
                <a:lnTo>
                  <a:pt x="1026408" y="336377"/>
                </a:lnTo>
                <a:lnTo>
                  <a:pt x="1098353" y="336377"/>
                </a:lnTo>
                <a:lnTo>
                  <a:pt x="1098353" y="283582"/>
                </a:lnTo>
                <a:close/>
              </a:path>
              <a:path w="2362835" h="342900">
                <a:moveTo>
                  <a:pt x="1098353" y="152770"/>
                </a:moveTo>
                <a:lnTo>
                  <a:pt x="976420" y="152770"/>
                </a:lnTo>
                <a:lnTo>
                  <a:pt x="988023" y="153851"/>
                </a:lnTo>
                <a:lnTo>
                  <a:pt x="998549" y="157094"/>
                </a:lnTo>
                <a:lnTo>
                  <a:pt x="1028099" y="189909"/>
                </a:lnTo>
                <a:lnTo>
                  <a:pt x="1032010" y="214904"/>
                </a:lnTo>
                <a:lnTo>
                  <a:pt x="1031032" y="228044"/>
                </a:lnTo>
                <a:lnTo>
                  <a:pt x="1007997" y="267315"/>
                </a:lnTo>
                <a:lnTo>
                  <a:pt x="976420" y="277038"/>
                </a:lnTo>
                <a:lnTo>
                  <a:pt x="1098353" y="277038"/>
                </a:lnTo>
                <a:lnTo>
                  <a:pt x="1098353" y="152770"/>
                </a:lnTo>
                <a:close/>
              </a:path>
              <a:path w="2362835" h="342900">
                <a:moveTo>
                  <a:pt x="1098353" y="0"/>
                </a:moveTo>
                <a:lnTo>
                  <a:pt x="1026408" y="0"/>
                </a:lnTo>
                <a:lnTo>
                  <a:pt x="1026408" y="146225"/>
                </a:lnTo>
                <a:lnTo>
                  <a:pt x="1098353" y="146225"/>
                </a:lnTo>
                <a:lnTo>
                  <a:pt x="1098353" y="0"/>
                </a:lnTo>
                <a:close/>
              </a:path>
              <a:path w="2362835" h="342900">
                <a:moveTo>
                  <a:pt x="1255794" y="87358"/>
                </a:moveTo>
                <a:lnTo>
                  <a:pt x="1206603" y="96692"/>
                </a:lnTo>
                <a:lnTo>
                  <a:pt x="1166727" y="123511"/>
                </a:lnTo>
                <a:lnTo>
                  <a:pt x="1140270" y="163761"/>
                </a:lnTo>
                <a:lnTo>
                  <a:pt x="1131054" y="214433"/>
                </a:lnTo>
                <a:lnTo>
                  <a:pt x="1132061" y="232994"/>
                </a:lnTo>
                <a:lnTo>
                  <a:pt x="1147169" y="281478"/>
                </a:lnTo>
                <a:lnTo>
                  <a:pt x="1178572" y="317478"/>
                </a:lnTo>
                <a:lnTo>
                  <a:pt x="1223554" y="338420"/>
                </a:lnTo>
                <a:lnTo>
                  <a:pt x="1259532" y="342450"/>
                </a:lnTo>
                <a:lnTo>
                  <a:pt x="1273721" y="341822"/>
                </a:lnTo>
                <a:lnTo>
                  <a:pt x="1312787" y="332398"/>
                </a:lnTo>
                <a:lnTo>
                  <a:pt x="1353665" y="304367"/>
                </a:lnTo>
                <a:lnTo>
                  <a:pt x="1368953" y="281708"/>
                </a:lnTo>
                <a:lnTo>
                  <a:pt x="1259532" y="281708"/>
                </a:lnTo>
                <a:lnTo>
                  <a:pt x="1248971" y="280935"/>
                </a:lnTo>
                <a:lnTo>
                  <a:pt x="1215417" y="262515"/>
                </a:lnTo>
                <a:lnTo>
                  <a:pt x="1202068" y="234526"/>
                </a:lnTo>
                <a:lnTo>
                  <a:pt x="1380533" y="234526"/>
                </a:lnTo>
                <a:lnTo>
                  <a:pt x="1380458" y="214433"/>
                </a:lnTo>
                <a:lnTo>
                  <a:pt x="1379540" y="197285"/>
                </a:lnTo>
                <a:lnTo>
                  <a:pt x="1377913" y="187805"/>
                </a:lnTo>
                <a:lnTo>
                  <a:pt x="1203931" y="187805"/>
                </a:lnTo>
                <a:lnTo>
                  <a:pt x="1207246" y="178786"/>
                </a:lnTo>
                <a:lnTo>
                  <a:pt x="1238330" y="150668"/>
                </a:lnTo>
                <a:lnTo>
                  <a:pt x="1255794" y="148100"/>
                </a:lnTo>
                <a:lnTo>
                  <a:pt x="1364206" y="148100"/>
                </a:lnTo>
                <a:lnTo>
                  <a:pt x="1355944" y="135201"/>
                </a:lnTo>
                <a:lnTo>
                  <a:pt x="1320734" y="103714"/>
                </a:lnTo>
                <a:lnTo>
                  <a:pt x="1273689" y="88381"/>
                </a:lnTo>
                <a:lnTo>
                  <a:pt x="1255794" y="87358"/>
                </a:lnTo>
                <a:close/>
              </a:path>
              <a:path w="2362835" h="342900">
                <a:moveTo>
                  <a:pt x="1375853" y="262557"/>
                </a:moveTo>
                <a:lnTo>
                  <a:pt x="1300169" y="262557"/>
                </a:lnTo>
                <a:lnTo>
                  <a:pt x="1293425" y="270939"/>
                </a:lnTo>
                <a:lnTo>
                  <a:pt x="1284405" y="276923"/>
                </a:lnTo>
                <a:lnTo>
                  <a:pt x="1273108" y="280512"/>
                </a:lnTo>
                <a:lnTo>
                  <a:pt x="1259532" y="281708"/>
                </a:lnTo>
                <a:lnTo>
                  <a:pt x="1368953" y="281708"/>
                </a:lnTo>
                <a:lnTo>
                  <a:pt x="1372368" y="274107"/>
                </a:lnTo>
                <a:lnTo>
                  <a:pt x="1375853" y="262557"/>
                </a:lnTo>
                <a:close/>
              </a:path>
              <a:path w="2362835" h="342900">
                <a:moveTo>
                  <a:pt x="1364206" y="148100"/>
                </a:moveTo>
                <a:lnTo>
                  <a:pt x="1255794" y="148100"/>
                </a:lnTo>
                <a:lnTo>
                  <a:pt x="1265047" y="148742"/>
                </a:lnTo>
                <a:lnTo>
                  <a:pt x="1273660" y="150668"/>
                </a:lnTo>
                <a:lnTo>
                  <a:pt x="1304728" y="178786"/>
                </a:lnTo>
                <a:lnTo>
                  <a:pt x="1307646" y="187805"/>
                </a:lnTo>
                <a:lnTo>
                  <a:pt x="1377913" y="187805"/>
                </a:lnTo>
                <a:lnTo>
                  <a:pt x="1376561" y="179926"/>
                </a:lnTo>
                <a:lnTo>
                  <a:pt x="1371597" y="163761"/>
                </a:lnTo>
                <a:lnTo>
                  <a:pt x="1364618" y="148742"/>
                </a:lnTo>
                <a:lnTo>
                  <a:pt x="1364206" y="148100"/>
                </a:lnTo>
                <a:close/>
              </a:path>
              <a:path w="2362835" h="342900">
                <a:moveTo>
                  <a:pt x="1485179" y="0"/>
                </a:moveTo>
                <a:lnTo>
                  <a:pt x="1413234" y="0"/>
                </a:lnTo>
                <a:lnTo>
                  <a:pt x="1413234" y="336377"/>
                </a:lnTo>
                <a:lnTo>
                  <a:pt x="1485179" y="336377"/>
                </a:lnTo>
                <a:lnTo>
                  <a:pt x="1485179" y="0"/>
                </a:lnTo>
                <a:close/>
              </a:path>
              <a:path w="2362835" h="342900">
                <a:moveTo>
                  <a:pt x="1603846" y="93442"/>
                </a:moveTo>
                <a:lnTo>
                  <a:pt x="1531901" y="93442"/>
                </a:lnTo>
                <a:lnTo>
                  <a:pt x="1531901" y="336377"/>
                </a:lnTo>
                <a:lnTo>
                  <a:pt x="1603846" y="336377"/>
                </a:lnTo>
                <a:lnTo>
                  <a:pt x="1603846" y="93442"/>
                </a:lnTo>
                <a:close/>
              </a:path>
              <a:path w="2362835" h="342900">
                <a:moveTo>
                  <a:pt x="1567868" y="0"/>
                </a:moveTo>
                <a:lnTo>
                  <a:pt x="1533324" y="16219"/>
                </a:lnTo>
                <a:lnTo>
                  <a:pt x="1526759" y="38773"/>
                </a:lnTo>
                <a:lnTo>
                  <a:pt x="1527504" y="47039"/>
                </a:lnTo>
                <a:lnTo>
                  <a:pt x="1559559" y="77780"/>
                </a:lnTo>
                <a:lnTo>
                  <a:pt x="1567868" y="78479"/>
                </a:lnTo>
                <a:lnTo>
                  <a:pt x="1576363" y="77780"/>
                </a:lnTo>
                <a:lnTo>
                  <a:pt x="1608255" y="47039"/>
                </a:lnTo>
                <a:lnTo>
                  <a:pt x="1608987" y="38773"/>
                </a:lnTo>
                <a:lnTo>
                  <a:pt x="1608255" y="30351"/>
                </a:lnTo>
                <a:lnTo>
                  <a:pt x="1576363" y="656"/>
                </a:lnTo>
                <a:lnTo>
                  <a:pt x="1567868" y="0"/>
                </a:lnTo>
                <a:close/>
              </a:path>
              <a:path w="2362835" h="342900">
                <a:moveTo>
                  <a:pt x="2004221" y="87358"/>
                </a:moveTo>
                <a:lnTo>
                  <a:pt x="1955035" y="96692"/>
                </a:lnTo>
                <a:lnTo>
                  <a:pt x="1915165" y="123511"/>
                </a:lnTo>
                <a:lnTo>
                  <a:pt x="1888702" y="163761"/>
                </a:lnTo>
                <a:lnTo>
                  <a:pt x="1879482" y="214433"/>
                </a:lnTo>
                <a:lnTo>
                  <a:pt x="1880489" y="232994"/>
                </a:lnTo>
                <a:lnTo>
                  <a:pt x="1895596" y="281478"/>
                </a:lnTo>
                <a:lnTo>
                  <a:pt x="1927001" y="317478"/>
                </a:lnTo>
                <a:lnTo>
                  <a:pt x="1971985" y="338420"/>
                </a:lnTo>
                <a:lnTo>
                  <a:pt x="2007959" y="342450"/>
                </a:lnTo>
                <a:lnTo>
                  <a:pt x="2022148" y="341822"/>
                </a:lnTo>
                <a:lnTo>
                  <a:pt x="2061214" y="332398"/>
                </a:lnTo>
                <a:lnTo>
                  <a:pt x="2102103" y="304367"/>
                </a:lnTo>
                <a:lnTo>
                  <a:pt x="2117384" y="281708"/>
                </a:lnTo>
                <a:lnTo>
                  <a:pt x="2007959" y="281708"/>
                </a:lnTo>
                <a:lnTo>
                  <a:pt x="1997399" y="280935"/>
                </a:lnTo>
                <a:lnTo>
                  <a:pt x="1963853" y="262515"/>
                </a:lnTo>
                <a:lnTo>
                  <a:pt x="1950495" y="234526"/>
                </a:lnTo>
                <a:lnTo>
                  <a:pt x="2128961" y="234526"/>
                </a:lnTo>
                <a:lnTo>
                  <a:pt x="2128886" y="214433"/>
                </a:lnTo>
                <a:lnTo>
                  <a:pt x="2127968" y="197285"/>
                </a:lnTo>
                <a:lnTo>
                  <a:pt x="2126341" y="187805"/>
                </a:lnTo>
                <a:lnTo>
                  <a:pt x="1952359" y="187805"/>
                </a:lnTo>
                <a:lnTo>
                  <a:pt x="1955673" y="178786"/>
                </a:lnTo>
                <a:lnTo>
                  <a:pt x="1986757" y="150668"/>
                </a:lnTo>
                <a:lnTo>
                  <a:pt x="2004221" y="148100"/>
                </a:lnTo>
                <a:lnTo>
                  <a:pt x="2112634" y="148100"/>
                </a:lnTo>
                <a:lnTo>
                  <a:pt x="2104373" y="135201"/>
                </a:lnTo>
                <a:lnTo>
                  <a:pt x="2069162" y="103714"/>
                </a:lnTo>
                <a:lnTo>
                  <a:pt x="2022116" y="88381"/>
                </a:lnTo>
                <a:lnTo>
                  <a:pt x="2004221" y="87358"/>
                </a:lnTo>
                <a:close/>
              </a:path>
              <a:path w="2362835" h="342900">
                <a:moveTo>
                  <a:pt x="1702880" y="93431"/>
                </a:moveTo>
                <a:lnTo>
                  <a:pt x="1624861" y="93431"/>
                </a:lnTo>
                <a:lnTo>
                  <a:pt x="1723905" y="336377"/>
                </a:lnTo>
                <a:lnTo>
                  <a:pt x="1782772" y="336377"/>
                </a:lnTo>
                <a:lnTo>
                  <a:pt x="1825439" y="231720"/>
                </a:lnTo>
                <a:lnTo>
                  <a:pt x="1753810" y="231720"/>
                </a:lnTo>
                <a:lnTo>
                  <a:pt x="1702880" y="93431"/>
                </a:lnTo>
                <a:close/>
              </a:path>
              <a:path w="2362835" h="342900">
                <a:moveTo>
                  <a:pt x="2124291" y="262557"/>
                </a:moveTo>
                <a:lnTo>
                  <a:pt x="2048607" y="262557"/>
                </a:lnTo>
                <a:lnTo>
                  <a:pt x="2041861" y="270939"/>
                </a:lnTo>
                <a:lnTo>
                  <a:pt x="2032838" y="276923"/>
                </a:lnTo>
                <a:lnTo>
                  <a:pt x="2021537" y="280512"/>
                </a:lnTo>
                <a:lnTo>
                  <a:pt x="2007959" y="281708"/>
                </a:lnTo>
                <a:lnTo>
                  <a:pt x="2117384" y="281708"/>
                </a:lnTo>
                <a:lnTo>
                  <a:pt x="2120800" y="274107"/>
                </a:lnTo>
                <a:lnTo>
                  <a:pt x="2124291" y="262557"/>
                </a:lnTo>
                <a:close/>
              </a:path>
              <a:path w="2362835" h="342900">
                <a:moveTo>
                  <a:pt x="1881817" y="93431"/>
                </a:moveTo>
                <a:lnTo>
                  <a:pt x="1804730" y="93431"/>
                </a:lnTo>
                <a:lnTo>
                  <a:pt x="1753810" y="231720"/>
                </a:lnTo>
                <a:lnTo>
                  <a:pt x="1825439" y="231720"/>
                </a:lnTo>
                <a:lnTo>
                  <a:pt x="1881817" y="93431"/>
                </a:lnTo>
                <a:close/>
              </a:path>
              <a:path w="2362835" h="342900">
                <a:moveTo>
                  <a:pt x="2112634" y="148100"/>
                </a:moveTo>
                <a:lnTo>
                  <a:pt x="2004221" y="148100"/>
                </a:lnTo>
                <a:lnTo>
                  <a:pt x="2013476" y="148742"/>
                </a:lnTo>
                <a:lnTo>
                  <a:pt x="2022091" y="150668"/>
                </a:lnTo>
                <a:lnTo>
                  <a:pt x="2053160" y="178786"/>
                </a:lnTo>
                <a:lnTo>
                  <a:pt x="2056083" y="187805"/>
                </a:lnTo>
                <a:lnTo>
                  <a:pt x="2126341" y="187805"/>
                </a:lnTo>
                <a:lnTo>
                  <a:pt x="2124988" y="179926"/>
                </a:lnTo>
                <a:lnTo>
                  <a:pt x="2120024" y="163761"/>
                </a:lnTo>
                <a:lnTo>
                  <a:pt x="2113045" y="148742"/>
                </a:lnTo>
                <a:lnTo>
                  <a:pt x="2112634" y="148100"/>
                </a:lnTo>
                <a:close/>
              </a:path>
              <a:path w="2362835" h="342900">
                <a:moveTo>
                  <a:pt x="2233617" y="93431"/>
                </a:moveTo>
                <a:lnTo>
                  <a:pt x="2161661" y="93431"/>
                </a:lnTo>
                <a:lnTo>
                  <a:pt x="2161661" y="336377"/>
                </a:lnTo>
                <a:lnTo>
                  <a:pt x="2233617" y="336377"/>
                </a:lnTo>
                <a:lnTo>
                  <a:pt x="2233617" y="199020"/>
                </a:lnTo>
                <a:lnTo>
                  <a:pt x="2234099" y="188420"/>
                </a:lnTo>
                <a:lnTo>
                  <a:pt x="2257746" y="152154"/>
                </a:lnTo>
                <a:lnTo>
                  <a:pt x="2265386" y="151367"/>
                </a:lnTo>
                <a:lnTo>
                  <a:pt x="2358447" y="151367"/>
                </a:lnTo>
                <a:lnTo>
                  <a:pt x="2356480" y="142490"/>
                </a:lnTo>
                <a:lnTo>
                  <a:pt x="2354328" y="136885"/>
                </a:lnTo>
                <a:lnTo>
                  <a:pt x="2233617" y="136885"/>
                </a:lnTo>
                <a:lnTo>
                  <a:pt x="2233617" y="93431"/>
                </a:lnTo>
                <a:close/>
              </a:path>
              <a:path w="2362835" h="342900">
                <a:moveTo>
                  <a:pt x="2358447" y="151367"/>
                </a:moveTo>
                <a:lnTo>
                  <a:pt x="2273166" y="151367"/>
                </a:lnTo>
                <a:lnTo>
                  <a:pt x="2278998" y="153702"/>
                </a:lnTo>
                <a:lnTo>
                  <a:pt x="2286789" y="163042"/>
                </a:lnTo>
                <a:lnTo>
                  <a:pt x="2289364" y="170832"/>
                </a:lnTo>
                <a:lnTo>
                  <a:pt x="2290610" y="181732"/>
                </a:lnTo>
                <a:lnTo>
                  <a:pt x="2362556" y="181732"/>
                </a:lnTo>
                <a:lnTo>
                  <a:pt x="2360569" y="160943"/>
                </a:lnTo>
                <a:lnTo>
                  <a:pt x="2358447" y="151367"/>
                </a:lnTo>
                <a:close/>
              </a:path>
              <a:path w="2362835" h="342900">
                <a:moveTo>
                  <a:pt x="2292945" y="87358"/>
                </a:moveTo>
                <a:lnTo>
                  <a:pt x="2256967" y="100206"/>
                </a:lnTo>
                <a:lnTo>
                  <a:pt x="2233617" y="136885"/>
                </a:lnTo>
                <a:lnTo>
                  <a:pt x="2354328" y="136885"/>
                </a:lnTo>
                <a:lnTo>
                  <a:pt x="2331926" y="101551"/>
                </a:lnTo>
                <a:lnTo>
                  <a:pt x="2292945" y="87358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68548" y="224056"/>
            <a:ext cx="8609878" cy="345351"/>
          </a:xfrm>
        </p:spPr>
        <p:txBody>
          <a:bodyPr lIns="0" tIns="0" rIns="0" bIns="0"/>
          <a:lstStyle>
            <a:lvl1pPr>
              <a:defRPr sz="2244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1/2024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6513405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1/2024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33764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4B43EEA-2BF7-4D57-90A2-139CE27259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70216190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95" imgH="396" progId="TCLayout.ActiveDocument.1">
                  <p:embed/>
                </p:oleObj>
              </mc:Choice>
              <mc:Fallback>
                <p:oleObj name="think-cell Slide" r:id="rId8" imgW="395" imgH="396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4B43EEA-2BF7-4D57-90A2-139CE27259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g object 16"/>
          <p:cNvSpPr/>
          <p:nvPr/>
        </p:nvSpPr>
        <p:spPr>
          <a:xfrm>
            <a:off x="0" y="0"/>
            <a:ext cx="12192000" cy="800164"/>
          </a:xfrm>
          <a:custGeom>
            <a:avLst/>
            <a:gdLst/>
            <a:ahLst/>
            <a:cxnLst/>
            <a:rect l="l" t="t" r="r" b="b"/>
            <a:pathLst>
              <a:path w="20104100" h="1319530">
                <a:moveTo>
                  <a:pt x="20104099" y="0"/>
                </a:moveTo>
                <a:lnTo>
                  <a:pt x="0" y="0"/>
                </a:lnTo>
                <a:lnTo>
                  <a:pt x="0" y="1319331"/>
                </a:lnTo>
                <a:lnTo>
                  <a:pt x="20104099" y="1319331"/>
                </a:lnTo>
                <a:lnTo>
                  <a:pt x="20104099" y="0"/>
                </a:lnTo>
                <a:close/>
              </a:path>
            </a:pathLst>
          </a:custGeom>
          <a:solidFill>
            <a:srgbClr val="DA202A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468548" y="224056"/>
            <a:ext cx="8609878" cy="5693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700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561066" y="1319077"/>
            <a:ext cx="6032460" cy="39241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2550" b="1" i="0">
                <a:solidFill>
                  <a:schemeClr val="bg1"/>
                </a:solidFill>
                <a:latin typeface="RMFirstClass-Solid"/>
                <a:cs typeface="RMFirstClass-Solid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4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11/20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1" y="6377940"/>
            <a:ext cx="2804160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sp>
        <p:nvSpPr>
          <p:cNvPr id="9" name="MSIPCMContentMarking" descr="{&quot;HashCode&quot;:-685326706,&quot;Placement&quot;:&quot;Footer&quot;,&quot;Top&quot;:519.343,&quot;Left&quot;:0.0,&quot;SlideWidth&quot;:960,&quot;SlideHeight&quot;:540}">
            <a:extLst>
              <a:ext uri="{FF2B5EF4-FFF2-40B4-BE49-F238E27FC236}">
                <a16:creationId xmlns:a16="http://schemas.microsoft.com/office/drawing/2014/main" id="{37895C25-7DB6-4733-AD46-7AB5AA8EF0BF}"/>
              </a:ext>
            </a:extLst>
          </p:cNvPr>
          <p:cNvSpPr txBox="1"/>
          <p:nvPr userDrawn="1"/>
        </p:nvSpPr>
        <p:spPr>
          <a:xfrm>
            <a:off x="0" y="6595656"/>
            <a:ext cx="1631108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en-GB" sz="1000">
                <a:solidFill>
                  <a:srgbClr val="000000"/>
                </a:solidFill>
                <a:latin typeface="Calibri" panose="020F0502020204030204" pitchFamily="34" charset="0"/>
              </a:rPr>
              <a:t>Classified: RMG – Internal</a:t>
            </a:r>
          </a:p>
        </p:txBody>
      </p:sp>
    </p:spTree>
    <p:extLst>
      <p:ext uri="{BB962C8B-B14F-4D97-AF65-F5344CB8AC3E}">
        <p14:creationId xmlns:p14="http://schemas.microsoft.com/office/powerpoint/2010/main" val="2475420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246">
        <a:defRPr>
          <a:latin typeface="+mn-lt"/>
          <a:ea typeface="+mn-ea"/>
          <a:cs typeface="+mn-cs"/>
        </a:defRPr>
      </a:lvl2pPr>
      <a:lvl3pPr marL="554492">
        <a:defRPr>
          <a:latin typeface="+mn-lt"/>
          <a:ea typeface="+mn-ea"/>
          <a:cs typeface="+mn-cs"/>
        </a:defRPr>
      </a:lvl3pPr>
      <a:lvl4pPr marL="831738">
        <a:defRPr>
          <a:latin typeface="+mn-lt"/>
          <a:ea typeface="+mn-ea"/>
          <a:cs typeface="+mn-cs"/>
        </a:defRPr>
      </a:lvl4pPr>
      <a:lvl5pPr marL="1108984">
        <a:defRPr>
          <a:latin typeface="+mn-lt"/>
          <a:ea typeface="+mn-ea"/>
          <a:cs typeface="+mn-cs"/>
        </a:defRPr>
      </a:lvl5pPr>
      <a:lvl6pPr marL="1386230">
        <a:defRPr>
          <a:latin typeface="+mn-lt"/>
          <a:ea typeface="+mn-ea"/>
          <a:cs typeface="+mn-cs"/>
        </a:defRPr>
      </a:lvl6pPr>
      <a:lvl7pPr marL="1663476">
        <a:defRPr>
          <a:latin typeface="+mn-lt"/>
          <a:ea typeface="+mn-ea"/>
          <a:cs typeface="+mn-cs"/>
        </a:defRPr>
      </a:lvl7pPr>
      <a:lvl8pPr marL="1940723">
        <a:defRPr>
          <a:latin typeface="+mn-lt"/>
          <a:ea typeface="+mn-ea"/>
          <a:cs typeface="+mn-cs"/>
        </a:defRPr>
      </a:lvl8pPr>
      <a:lvl9pPr marL="2217969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E6F98D8-7214-4CF6-A132-054D0CB2D71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391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6" progId="TCLayout.ActiveDocument.1">
                  <p:embed/>
                </p:oleObj>
              </mc:Choice>
              <mc:Fallback>
                <p:oleObj name="think-cell Slide" r:id="rId3" imgW="395" imgH="39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E6F98D8-7214-4CF6-A132-054D0CB2D7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391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542963" y="4978621"/>
            <a:ext cx="9216520" cy="1118494"/>
          </a:xfrm>
          <a:prstGeom prst="rect">
            <a:avLst/>
          </a:prstGeom>
        </p:spPr>
        <p:txBody>
          <a:bodyPr vert="horz" wrap="square" lIns="0" tIns="10397" rIns="0" bIns="0" rtlCol="0">
            <a:spAutoFit/>
          </a:bodyPr>
          <a:lstStyle/>
          <a:p>
            <a:pPr marL="7701">
              <a:spcBef>
                <a:spcPts val="82"/>
              </a:spcBef>
            </a:pPr>
            <a:r>
              <a:rPr lang="en-GB" sz="4000" dirty="0">
                <a:latin typeface="PF DIN Text Pro"/>
              </a:rPr>
              <a:t>Behavioural Reset – Change for Good</a:t>
            </a:r>
            <a:br>
              <a:rPr lang="en-GB" sz="4000" dirty="0">
                <a:latin typeface="PF DIN Text Pro"/>
              </a:rPr>
            </a:br>
            <a:r>
              <a:rPr lang="en-GB" sz="3200" b="0" dirty="0">
                <a:latin typeface="PF DIN Text Pro"/>
              </a:rPr>
              <a:t>Project Overview</a:t>
            </a:r>
            <a:endParaRPr sz="4000" b="0" dirty="0">
              <a:latin typeface="PF DIN Text Pro"/>
            </a:endParaRPr>
          </a:p>
        </p:txBody>
      </p:sp>
    </p:spTree>
    <p:extLst>
      <p:ext uri="{BB962C8B-B14F-4D97-AF65-F5344CB8AC3E}">
        <p14:creationId xmlns:p14="http://schemas.microsoft.com/office/powerpoint/2010/main" val="18974113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4C38309A-4F0D-4053-B0D6-C3D80E0729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1203" y="223250"/>
            <a:ext cx="8609274" cy="358495"/>
          </a:xfrm>
        </p:spPr>
        <p:txBody>
          <a:bodyPr/>
          <a:lstStyle/>
          <a:p>
            <a:r>
              <a:rPr lang="en-GB" dirty="0"/>
              <a:t>Behavioural Reset – Change for Good</a:t>
            </a:r>
            <a:endParaRPr lang="en-GB" dirty="0">
              <a:highlight>
                <a:srgbClr val="FFFF00"/>
              </a:highlight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F14EBA0A-DFA7-45A9-B239-DC543947E207}"/>
              </a:ext>
            </a:extLst>
          </p:cNvPr>
          <p:cNvSpPr txBox="1"/>
          <p:nvPr/>
        </p:nvSpPr>
        <p:spPr>
          <a:xfrm>
            <a:off x="931333" y="1640977"/>
            <a:ext cx="10329333" cy="403187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GB" sz="3200" b="0" i="0" u="none" strike="noStrike" baseline="0" dirty="0">
                <a:solidFill>
                  <a:srgbClr val="000000"/>
                </a:solidFill>
                <a:latin typeface="PF DIN Text Pro"/>
              </a:rPr>
              <a:t>We’re launching </a:t>
            </a:r>
            <a:r>
              <a:rPr lang="en-GB" sz="3200" b="1" i="0" u="none" strike="noStrike" baseline="0" dirty="0">
                <a:solidFill>
                  <a:srgbClr val="000000"/>
                </a:solidFill>
                <a:latin typeface="PF DIN Text Pro"/>
              </a:rPr>
              <a:t>Change For Good</a:t>
            </a:r>
            <a:r>
              <a:rPr lang="en-GB" sz="3200" b="0" i="0" u="none" strike="noStrike" baseline="0" dirty="0">
                <a:solidFill>
                  <a:srgbClr val="000000"/>
                </a:solidFill>
                <a:latin typeface="PF DIN Text Pro"/>
              </a:rPr>
              <a:t>, a campaign to change Royal Mail for the better, by creating an inclusive culture where everyone is treated with </a:t>
            </a:r>
            <a:r>
              <a:rPr lang="en-GB" sz="3200" b="1" i="0" u="none" strike="noStrike" baseline="0" dirty="0">
                <a:solidFill>
                  <a:srgbClr val="000000"/>
                </a:solidFill>
                <a:latin typeface="PF DIN Text Pro"/>
              </a:rPr>
              <a:t>dignity</a:t>
            </a:r>
            <a:r>
              <a:rPr lang="en-GB" sz="3200" b="0" i="0" u="none" strike="noStrike" baseline="0" dirty="0">
                <a:solidFill>
                  <a:srgbClr val="000000"/>
                </a:solidFill>
                <a:latin typeface="PF DIN Text Pro"/>
              </a:rPr>
              <a:t> and </a:t>
            </a:r>
            <a:r>
              <a:rPr lang="en-GB" sz="3200" b="1" i="0" u="none" strike="noStrike" baseline="0" dirty="0">
                <a:solidFill>
                  <a:srgbClr val="000000"/>
                </a:solidFill>
                <a:latin typeface="PF DIN Text Pro"/>
              </a:rPr>
              <a:t>respect</a:t>
            </a:r>
            <a:r>
              <a:rPr lang="en-GB" sz="3200" b="0" i="0" u="none" strike="noStrike" baseline="0" dirty="0">
                <a:solidFill>
                  <a:srgbClr val="000000"/>
                </a:solidFill>
                <a:latin typeface="PF DIN Text Pro"/>
              </a:rPr>
              <a:t>.</a:t>
            </a:r>
          </a:p>
          <a:p>
            <a:pPr algn="ctr"/>
            <a:endParaRPr lang="en-GB" sz="3200" dirty="0">
              <a:solidFill>
                <a:srgbClr val="000000"/>
              </a:solidFill>
              <a:latin typeface="PF DIN Text Pro"/>
            </a:endParaRPr>
          </a:p>
          <a:p>
            <a:pPr algn="ctr"/>
            <a:r>
              <a:rPr lang="en-GB" sz="3200" dirty="0">
                <a:solidFill>
                  <a:srgbClr val="000000"/>
                </a:solidFill>
                <a:latin typeface="PF DIN Text Pro"/>
              </a:rPr>
              <a:t>Together, we can make Royal Mail a place where everyone is treated fairly and with respect.</a:t>
            </a:r>
          </a:p>
          <a:p>
            <a:pPr algn="ctr"/>
            <a:endParaRPr lang="en-GB" sz="3200" dirty="0">
              <a:solidFill>
                <a:srgbClr val="000000"/>
              </a:solidFill>
              <a:latin typeface="PF DIN Text Pro"/>
            </a:endParaRPr>
          </a:p>
          <a:p>
            <a:pPr algn="ctr"/>
            <a:r>
              <a:rPr lang="en-GB" sz="3200" b="1" dirty="0">
                <a:solidFill>
                  <a:srgbClr val="000000"/>
                </a:solidFill>
                <a:latin typeface="PF DIN Text Pro"/>
              </a:rPr>
              <a:t>Are you in?</a:t>
            </a:r>
          </a:p>
        </p:txBody>
      </p:sp>
    </p:spTree>
    <p:extLst>
      <p:ext uri="{BB962C8B-B14F-4D97-AF65-F5344CB8AC3E}">
        <p14:creationId xmlns:p14="http://schemas.microsoft.com/office/powerpoint/2010/main" val="26951762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2">
            <a:extLst>
              <a:ext uri="{FF2B5EF4-FFF2-40B4-BE49-F238E27FC236}">
                <a16:creationId xmlns:a16="http://schemas.microsoft.com/office/drawing/2014/main" id="{2D17147F-22F6-49CA-B5B6-B8CF524080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5258692"/>
              </p:ext>
            </p:extLst>
          </p:nvPr>
        </p:nvGraphicFramePr>
        <p:xfrm>
          <a:off x="169334" y="933024"/>
          <a:ext cx="11763081" cy="51816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95388">
                  <a:extLst>
                    <a:ext uri="{9D8B030D-6E8A-4147-A177-3AD203B41FA5}">
                      <a16:colId xmlns:a16="http://schemas.microsoft.com/office/drawing/2014/main" val="3074051685"/>
                    </a:ext>
                  </a:extLst>
                </a:gridCol>
                <a:gridCol w="2336345">
                  <a:extLst>
                    <a:ext uri="{9D8B030D-6E8A-4147-A177-3AD203B41FA5}">
                      <a16:colId xmlns:a16="http://schemas.microsoft.com/office/drawing/2014/main" val="804546188"/>
                    </a:ext>
                  </a:extLst>
                </a:gridCol>
                <a:gridCol w="3003973">
                  <a:extLst>
                    <a:ext uri="{9D8B030D-6E8A-4147-A177-3AD203B41FA5}">
                      <a16:colId xmlns:a16="http://schemas.microsoft.com/office/drawing/2014/main" val="330369927"/>
                    </a:ext>
                  </a:extLst>
                </a:gridCol>
                <a:gridCol w="2274759">
                  <a:extLst>
                    <a:ext uri="{9D8B030D-6E8A-4147-A177-3AD203B41FA5}">
                      <a16:colId xmlns:a16="http://schemas.microsoft.com/office/drawing/2014/main" val="2508663268"/>
                    </a:ext>
                  </a:extLst>
                </a:gridCol>
                <a:gridCol w="2352616">
                  <a:extLst>
                    <a:ext uri="{9D8B030D-6E8A-4147-A177-3AD203B41FA5}">
                      <a16:colId xmlns:a16="http://schemas.microsoft.com/office/drawing/2014/main" val="2638354310"/>
                    </a:ext>
                  </a:extLst>
                </a:gridCol>
              </a:tblGrid>
              <a:tr h="458744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PHASE ONE</a:t>
                      </a:r>
                    </a:p>
                    <a:p>
                      <a:pPr algn="ctr"/>
                      <a:r>
                        <a:rPr lang="en-GB" sz="1600" dirty="0"/>
                        <a:t>Enable</a:t>
                      </a:r>
                    </a:p>
                  </a:txBody>
                  <a:tcPr>
                    <a:solidFill>
                      <a:srgbClr val="3E145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PHASE TWO</a:t>
                      </a:r>
                    </a:p>
                    <a:p>
                      <a:pPr algn="ctr"/>
                      <a:r>
                        <a:rPr lang="en-GB" sz="1600" dirty="0"/>
                        <a:t>Engage</a:t>
                      </a:r>
                    </a:p>
                  </a:txBody>
                  <a:tcPr>
                    <a:solidFill>
                      <a:srgbClr val="DC6C2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PHASE THREE</a:t>
                      </a:r>
                    </a:p>
                    <a:p>
                      <a:pPr algn="ctr"/>
                      <a:r>
                        <a:rPr lang="en-GB" sz="1600" dirty="0"/>
                        <a:t>Educate</a:t>
                      </a:r>
                    </a:p>
                  </a:txBody>
                  <a:tcPr>
                    <a:solidFill>
                      <a:srgbClr val="D8117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600" dirty="0"/>
                        <a:t>PHASE FOUR</a:t>
                      </a:r>
                    </a:p>
                    <a:p>
                      <a:pPr algn="ctr"/>
                      <a:r>
                        <a:rPr lang="en-GB" sz="1600" dirty="0"/>
                        <a:t>Embed</a:t>
                      </a:r>
                    </a:p>
                  </a:txBody>
                  <a:tcPr>
                    <a:solidFill>
                      <a:srgbClr val="7233A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9058596"/>
                  </a:ext>
                </a:extLst>
              </a:tr>
              <a:tr h="589813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i="1" u="none" strike="noStrike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epare and energise</a:t>
                      </a:r>
                    </a:p>
                    <a:p>
                      <a:pPr algn="ctr"/>
                      <a:r>
                        <a:rPr lang="en-GB" sz="1400" b="1" i="1" u="none" strike="noStrike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ccountable leaders and managers</a:t>
                      </a:r>
                      <a:endParaRPr lang="en-GB" sz="1400" b="1" i="1" dirty="0"/>
                    </a:p>
                  </a:txBody>
                  <a:tcPr>
                    <a:solidFill>
                      <a:srgbClr val="3E1458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i="1" u="none" strike="noStrike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unch the Change for Good campaign, training </a:t>
                      </a:r>
                    </a:p>
                    <a:p>
                      <a:pPr algn="ctr"/>
                      <a:r>
                        <a:rPr lang="en-GB" sz="1400" b="1" i="1" u="none" strike="noStrike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nd tools</a:t>
                      </a:r>
                      <a:endParaRPr lang="en-GB" sz="1400" b="1" i="1" dirty="0"/>
                    </a:p>
                  </a:txBody>
                  <a:tcPr>
                    <a:solidFill>
                      <a:srgbClr val="DC6C29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i="1" u="none" strike="noStrike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ep dive into Sexual Harassment campaign and training</a:t>
                      </a:r>
                      <a:endParaRPr lang="en-GB" sz="1400" b="1" i="1" dirty="0"/>
                    </a:p>
                  </a:txBody>
                  <a:tcPr>
                    <a:solidFill>
                      <a:srgbClr val="D8117D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i="1" u="none" strike="noStrike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ultural standard is</a:t>
                      </a:r>
                    </a:p>
                    <a:p>
                      <a:pPr algn="ctr"/>
                      <a:r>
                        <a:rPr lang="en-GB" sz="1400" b="1" i="1" u="none" strike="noStrike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t, understood and supported</a:t>
                      </a:r>
                      <a:endParaRPr lang="en-GB" sz="1400" b="1" i="1" dirty="0"/>
                    </a:p>
                  </a:txBody>
                  <a:tcPr>
                    <a:solidFill>
                      <a:srgbClr val="7030A0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6102061"/>
                  </a:ext>
                </a:extLst>
              </a:tr>
              <a:tr h="327674">
                <a:tc>
                  <a:txBody>
                    <a:bodyPr/>
                    <a:lstStyle/>
                    <a:p>
                      <a:endParaRPr lang="en-GB" dirty="0"/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1" dirty="0"/>
                        <a:t>Dates</a:t>
                      </a:r>
                      <a:r>
                        <a:rPr lang="en-GB" sz="1200" b="0" i="1" dirty="0"/>
                        <a:t>: 8</a:t>
                      </a:r>
                      <a:r>
                        <a:rPr lang="en-GB" sz="1200" b="0" i="1" baseline="30000" dirty="0"/>
                        <a:t>th</a:t>
                      </a:r>
                      <a:r>
                        <a:rPr lang="en-GB" sz="1200" b="0" i="1" dirty="0"/>
                        <a:t> January 2024 till </a:t>
                      </a:r>
                    </a:p>
                    <a:p>
                      <a:pPr algn="ctr"/>
                      <a:r>
                        <a:rPr lang="en-GB" sz="1200" b="0" i="1" dirty="0"/>
                        <a:t>16</a:t>
                      </a:r>
                      <a:r>
                        <a:rPr lang="en-GB" sz="1200" b="0" i="1" baseline="30000" dirty="0"/>
                        <a:t>th</a:t>
                      </a:r>
                      <a:r>
                        <a:rPr lang="en-GB" sz="1200" b="0" i="1" dirty="0"/>
                        <a:t> February 2024</a:t>
                      </a:r>
                    </a:p>
                  </a:txBody>
                  <a:tcPr>
                    <a:solidFill>
                      <a:srgbClr val="3E1458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1" dirty="0"/>
                        <a:t>Dates: </a:t>
                      </a:r>
                      <a:r>
                        <a:rPr lang="en-GB" sz="1200" b="0" i="1" dirty="0"/>
                        <a:t>19</a:t>
                      </a:r>
                      <a:r>
                        <a:rPr lang="en-GB" sz="1200" b="0" i="1" baseline="30000" dirty="0"/>
                        <a:t>th</a:t>
                      </a:r>
                      <a:r>
                        <a:rPr lang="en-GB" sz="1200" b="0" i="1" dirty="0"/>
                        <a:t> February 2024 till </a:t>
                      </a:r>
                    </a:p>
                    <a:p>
                      <a:pPr algn="ctr"/>
                      <a:r>
                        <a:rPr lang="en-GB" sz="1200" b="0" i="1" dirty="0"/>
                        <a:t>29</a:t>
                      </a:r>
                      <a:r>
                        <a:rPr lang="en-GB" sz="1200" b="0" i="1" baseline="30000" dirty="0"/>
                        <a:t>th</a:t>
                      </a:r>
                      <a:r>
                        <a:rPr lang="en-GB" sz="1200" b="0" i="1" dirty="0"/>
                        <a:t> March 2024</a:t>
                      </a:r>
                    </a:p>
                  </a:txBody>
                  <a:tcPr>
                    <a:solidFill>
                      <a:srgbClr val="DC6C29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b="1" i="1" dirty="0"/>
                        <a:t>Dates: </a:t>
                      </a:r>
                      <a:r>
                        <a:rPr lang="en-GB" sz="1200" b="0" i="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st April 2024 till </a:t>
                      </a:r>
                    </a:p>
                    <a:p>
                      <a:pPr algn="ctr"/>
                      <a:r>
                        <a:rPr lang="en-GB" sz="1200" b="0" i="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4th June 2024 </a:t>
                      </a:r>
                    </a:p>
                  </a:txBody>
                  <a:tcPr>
                    <a:solidFill>
                      <a:srgbClr val="D8117D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1" dirty="0"/>
                        <a:t>Dates: </a:t>
                      </a:r>
                      <a:r>
                        <a:rPr lang="en-GB" sz="1200" b="0" i="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7th June 2024 </a:t>
                      </a:r>
                    </a:p>
                    <a:p>
                      <a:pPr marL="0" marR="0" lvl="0" indent="0" algn="ctr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ill 26</a:t>
                      </a:r>
                      <a:r>
                        <a:rPr lang="en-GB" sz="1200" b="0" i="1" baseline="300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</a:t>
                      </a:r>
                      <a:r>
                        <a:rPr lang="en-GB" sz="1200" b="0" i="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July 2024 </a:t>
                      </a:r>
                    </a:p>
                  </a:txBody>
                  <a:tcPr>
                    <a:solidFill>
                      <a:srgbClr val="7030A0">
                        <a:alpha val="50196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1523514"/>
                  </a:ext>
                </a:extLst>
              </a:tr>
              <a:tr h="1245162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/>
                        <a:t>Campaign and Communications</a:t>
                      </a:r>
                    </a:p>
                    <a:p>
                      <a:pPr algn="ctr"/>
                      <a:r>
                        <a:rPr lang="en-GB" sz="1100" b="1" i="1" dirty="0"/>
                        <a:t>(Owners: Emma Green and </a:t>
                      </a:r>
                    </a:p>
                    <a:p>
                      <a:pPr algn="ctr"/>
                      <a:r>
                        <a:rPr lang="en-GB" sz="1100" b="1" i="1" dirty="0"/>
                        <a:t>Blue Goose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4138" marR="0" lvl="0" indent="-84138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HR and Leader Briefing Sessions.</a:t>
                      </a:r>
                    </a:p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nior leader email.</a:t>
                      </a:r>
                    </a:p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ll colleague comms.</a:t>
                      </a:r>
                    </a:p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WU and CMA Briefings.</a:t>
                      </a:r>
                    </a:p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H, ER and EAP Briefings.</a:t>
                      </a:r>
                    </a:p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ager’s Guide and Roadmap.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nior leader launch video #ImIn.</a:t>
                      </a:r>
                    </a:p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hysical and digital ambient launch content e.g. Posters, screens.</a:t>
                      </a:r>
                    </a:p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ange for Good actor video.</a:t>
                      </a:r>
                    </a:p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 x Change for Good WTLLs &amp; Animations  (1xCFG &amp; 3x OBS).</a:t>
                      </a:r>
                    </a:p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ange for Good #ImIn Workplace pledges.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 WTLL Session.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ange for Good positive stories on Workplace and ongoing comms.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4090031"/>
                  </a:ext>
                </a:extLst>
              </a:tr>
              <a:tr h="611658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/>
                        <a:t>Policies and </a:t>
                      </a:r>
                    </a:p>
                    <a:p>
                      <a:pPr algn="ctr"/>
                      <a:r>
                        <a:rPr lang="en-GB" sz="1400" b="1" dirty="0"/>
                        <a:t>Process</a:t>
                      </a:r>
                    </a:p>
                    <a:p>
                      <a:pPr marL="0" algn="ctr"/>
                      <a:r>
                        <a:rPr lang="en-GB" sz="1100" b="1" i="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Owners: Karen McKay,  Kirandeep Hallan and Jo Cartwright)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endParaRPr lang="en-GB" sz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aunch of new Our Business Standards.</a:t>
                      </a:r>
                    </a:p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anager Case Risk Assessment process launch.</a:t>
                      </a:r>
                    </a:p>
                    <a:p>
                      <a:pPr marL="84138" marR="0" lvl="0" indent="-84138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aising Concerns Tile promotion.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exual Harassment Factsheet.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4138" marR="0" lvl="0" indent="-84138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w Raising Concerns process.</a:t>
                      </a:r>
                    </a:p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endParaRPr lang="en-GB" sz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1398533"/>
                  </a:ext>
                </a:extLst>
              </a:tr>
              <a:tr h="720883"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/>
                        <a:t>Leadership and </a:t>
                      </a:r>
                    </a:p>
                    <a:p>
                      <a:pPr algn="ctr"/>
                      <a:r>
                        <a:rPr lang="en-GB" sz="1400" b="1" dirty="0"/>
                        <a:t>Learning</a:t>
                      </a:r>
                    </a:p>
                    <a:p>
                      <a:pPr algn="ctr"/>
                      <a:r>
                        <a:rPr lang="en-GB" sz="1100" b="1" i="1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(Owners: Ged Salzano, James Barton &amp; Sharon Fennell)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ange for Good Connect and Learn sessions.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hange for Good Manager Webinars.</a:t>
                      </a:r>
                    </a:p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OBS Attestation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4138" marR="0" lvl="0" indent="-84138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 Manager Webinars.</a:t>
                      </a:r>
                    </a:p>
                    <a:p>
                      <a:pPr marL="84138" marR="0" lvl="0" indent="-84138" defTabSz="91440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H online module for colleagues.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4138" indent="-84138">
                        <a:buFont typeface="Arial" panose="020B0604020202020204" pitchFamily="34" charset="0"/>
                        <a:buChar char="•"/>
                      </a:pPr>
                      <a:r>
                        <a:rPr lang="en-GB" sz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mbedding Change for Good messaging within training sessions e.g. Delivering for Success.</a:t>
                      </a:r>
                    </a:p>
                  </a:txBody>
                  <a:tcP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506411"/>
                  </a:ext>
                </a:extLst>
              </a:tr>
            </a:tbl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C26BC9C3-9E90-40FF-B85E-3F07DFF1E6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liverables – High-Level Phased Delivery Plan</a:t>
            </a:r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D3A8D250-DE73-4FF9-A62D-13CB4C534628}"/>
              </a:ext>
            </a:extLst>
          </p:cNvPr>
          <p:cNvGraphicFramePr>
            <a:graphicFrameLocks noGrp="1"/>
          </p:cNvGraphicFramePr>
          <p:nvPr/>
        </p:nvGraphicFramePr>
        <p:xfrm>
          <a:off x="169331" y="6231864"/>
          <a:ext cx="11763082" cy="274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61069">
                  <a:extLst>
                    <a:ext uri="{9D8B030D-6E8A-4147-A177-3AD203B41FA5}">
                      <a16:colId xmlns:a16="http://schemas.microsoft.com/office/drawing/2014/main" val="2114595776"/>
                    </a:ext>
                  </a:extLst>
                </a:gridCol>
                <a:gridCol w="2357120">
                  <a:extLst>
                    <a:ext uri="{9D8B030D-6E8A-4147-A177-3AD203B41FA5}">
                      <a16:colId xmlns:a16="http://schemas.microsoft.com/office/drawing/2014/main" val="2812491512"/>
                    </a:ext>
                  </a:extLst>
                </a:gridCol>
                <a:gridCol w="2936240">
                  <a:extLst>
                    <a:ext uri="{9D8B030D-6E8A-4147-A177-3AD203B41FA5}">
                      <a16:colId xmlns:a16="http://schemas.microsoft.com/office/drawing/2014/main" val="2700588779"/>
                    </a:ext>
                  </a:extLst>
                </a:gridCol>
                <a:gridCol w="2367280">
                  <a:extLst>
                    <a:ext uri="{9D8B030D-6E8A-4147-A177-3AD203B41FA5}">
                      <a16:colId xmlns:a16="http://schemas.microsoft.com/office/drawing/2014/main" val="3913193104"/>
                    </a:ext>
                  </a:extLst>
                </a:gridCol>
                <a:gridCol w="2341373">
                  <a:extLst>
                    <a:ext uri="{9D8B030D-6E8A-4147-A177-3AD203B41FA5}">
                      <a16:colId xmlns:a16="http://schemas.microsoft.com/office/drawing/2014/main" val="82250691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With a lens on:</a:t>
                      </a: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Your Wellbeing</a:t>
                      </a:r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MyPerformance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Recognition</a:t>
                      </a:r>
                    </a:p>
                  </a:txBody>
                  <a:tcP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/>
                        <a:t>OH and ER</a:t>
                      </a:r>
                    </a:p>
                  </a:txBody>
                  <a:tcPr>
                    <a:solidFill>
                      <a:schemeClr val="accent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29095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4862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ACC11F01-34F8-180C-5A8E-2D556DA728EC}"/>
              </a:ext>
            </a:extLst>
          </p:cNvPr>
          <p:cNvSpPr txBox="1"/>
          <p:nvPr/>
        </p:nvSpPr>
        <p:spPr>
          <a:xfrm>
            <a:off x="379790" y="164465"/>
            <a:ext cx="10156130" cy="4376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44" b="1" dirty="0">
                <a:solidFill>
                  <a:schemeClr val="bg1"/>
                </a:solidFill>
                <a:latin typeface="RMFirstClass-Solid"/>
                <a:ea typeface="+mj-ea"/>
              </a:rPr>
              <a:t>Appendix 1: Example Campaign Concepts: Behavioural Reset and Sexual Harassment</a:t>
            </a:r>
          </a:p>
        </p:txBody>
      </p:sp>
      <p:pic>
        <p:nvPicPr>
          <p:cNvPr id="3" name="Picture 2" descr="A group of posters with text&#10;&#10;Description automatically generated">
            <a:extLst>
              <a:ext uri="{FF2B5EF4-FFF2-40B4-BE49-F238E27FC236}">
                <a16:creationId xmlns:a16="http://schemas.microsoft.com/office/drawing/2014/main" id="{B8565FC5-FDFD-487C-B0FB-072EBE24BD5A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95" r="34501" b="11112"/>
          <a:stretch/>
        </p:blipFill>
        <p:spPr>
          <a:xfrm>
            <a:off x="428" y="1194526"/>
            <a:ext cx="7985332" cy="522514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D587A4B-6986-4DDC-940E-290CD42F994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-89" t="9997" r="64841" b="317"/>
          <a:stretch/>
        </p:blipFill>
        <p:spPr>
          <a:xfrm>
            <a:off x="7559468" y="1068977"/>
            <a:ext cx="4297252" cy="61504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7137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3F02C83B-5A20-19E2-FEBD-C1920FDC2A47}"/>
              </a:ext>
            </a:extLst>
          </p:cNvPr>
          <p:cNvSpPr txBox="1"/>
          <p:nvPr/>
        </p:nvSpPr>
        <p:spPr>
          <a:xfrm>
            <a:off x="434218" y="186237"/>
            <a:ext cx="8252581" cy="4376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44" b="1" dirty="0">
                <a:solidFill>
                  <a:schemeClr val="bg1"/>
                </a:solidFill>
                <a:latin typeface="RMFirstClass-Solid"/>
                <a:ea typeface="+mj-ea"/>
              </a:rPr>
              <a:t>Appendix 2: Example Pledge Asset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D9F57B-658D-401E-9B3C-B1D18E19FE11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834" t="17779" r="29500" b="7110"/>
          <a:stretch/>
        </p:blipFill>
        <p:spPr>
          <a:xfrm>
            <a:off x="1793240" y="814070"/>
            <a:ext cx="8605520" cy="59931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22568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1d6f3793-b933-4a16-9dd9-a773489a5068">
      <UserInfo>
        <DisplayName>Kirandeep Hallan</DisplayName>
        <AccountId>9</AccountId>
        <AccountType/>
      </UserInfo>
    </SharedWithUsers>
    <_activity xmlns="e96d19d9-08cd-43b1-9e87-838f193ae1ea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BDE22A77E923644823DEE3AA91E4621" ma:contentTypeVersion="13" ma:contentTypeDescription="Create a new document." ma:contentTypeScope="" ma:versionID="ac5bf3aa603835ac7b7804cb8e56cd9a">
  <xsd:schema xmlns:xsd="http://www.w3.org/2001/XMLSchema" xmlns:xs="http://www.w3.org/2001/XMLSchema" xmlns:p="http://schemas.microsoft.com/office/2006/metadata/properties" xmlns:ns3="e96d19d9-08cd-43b1-9e87-838f193ae1ea" xmlns:ns4="1d6f3793-b933-4a16-9dd9-a773489a5068" targetNamespace="http://schemas.microsoft.com/office/2006/metadata/properties" ma:root="true" ma:fieldsID="747d1d55652113075d77dc72821ded10" ns3:_="" ns4:_="">
    <xsd:import namespace="e96d19d9-08cd-43b1-9e87-838f193ae1ea"/>
    <xsd:import namespace="1d6f3793-b933-4a16-9dd9-a773489a506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ObjectDetectorVersions" minOccurs="0"/>
                <xsd:element ref="ns3:MediaLengthInSecond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96d19d9-08cd-43b1-9e87-838f193ae1e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_activity" ma:index="14" nillable="true" ma:displayName="_activity" ma:hidden="true" ma:internalName="_activity">
      <xsd:simpleType>
        <xsd:restriction base="dms:Note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20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6f3793-b933-4a16-9dd9-a773489a5068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8DBCE59-ED3F-4FAE-9929-5C8C8DEBD3B7}">
  <ds:schemaRefs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1d6f3793-b933-4a16-9dd9-a773489a5068"/>
    <ds:schemaRef ds:uri="e96d19d9-08cd-43b1-9e87-838f193ae1ea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C2E41BF-B9D1-439A-B659-3D793B20AFA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96d19d9-08cd-43b1-9e87-838f193ae1ea"/>
    <ds:schemaRef ds:uri="1d6f3793-b933-4a16-9dd9-a773489a506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E74A1A5E-8404-4576-AA6B-8DC4618F524E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919</TotalTime>
  <Words>391</Words>
  <Application>Microsoft Office PowerPoint</Application>
  <PresentationFormat>Widescreen</PresentationFormat>
  <Paragraphs>71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1" baseType="lpstr">
      <vt:lpstr>Arial</vt:lpstr>
      <vt:lpstr>Calibri</vt:lpstr>
      <vt:lpstr>PF DIN Text Pro</vt:lpstr>
      <vt:lpstr>RMFirstClass-Solid</vt:lpstr>
      <vt:lpstr>2_Office Theme</vt:lpstr>
      <vt:lpstr>think-cell Slide</vt:lpstr>
      <vt:lpstr>Behavioural Reset – Change for Good Project Overview</vt:lpstr>
      <vt:lpstr>Behavioural Reset – Change for Good</vt:lpstr>
      <vt:lpstr>Deliverables – High-Level Phased Delivery Pla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oyal Mail</dc:title>
  <dc:creator>Winnie</dc:creator>
  <cp:lastModifiedBy>Heidi Maughan</cp:lastModifiedBy>
  <cp:revision>643</cp:revision>
  <dcterms:created xsi:type="dcterms:W3CDTF">2023-04-12T08:35:33Z</dcterms:created>
  <dcterms:modified xsi:type="dcterms:W3CDTF">2024-04-11T13:5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BDE22A77E923644823DEE3AA91E4621</vt:lpwstr>
  </property>
  <property fmtid="{D5CDD505-2E9C-101B-9397-08002B2CF9AE}" pid="3" name="MSIP_Label_980f36f3-41a5-4f45-a6a2-e224f336accd_Enabled">
    <vt:lpwstr>true</vt:lpwstr>
  </property>
  <property fmtid="{D5CDD505-2E9C-101B-9397-08002B2CF9AE}" pid="4" name="MSIP_Label_980f36f3-41a5-4f45-a6a2-e224f336accd_SetDate">
    <vt:lpwstr>2024-01-24T16:25:25Z</vt:lpwstr>
  </property>
  <property fmtid="{D5CDD505-2E9C-101B-9397-08002B2CF9AE}" pid="5" name="MSIP_Label_980f36f3-41a5-4f45-a6a2-e224f336accd_Method">
    <vt:lpwstr>Standard</vt:lpwstr>
  </property>
  <property fmtid="{D5CDD505-2E9C-101B-9397-08002B2CF9AE}" pid="6" name="MSIP_Label_980f36f3-41a5-4f45-a6a2-e224f336accd_Name">
    <vt:lpwstr>980f36f3-41a5-4f45-a6a2-e224f336accd</vt:lpwstr>
  </property>
  <property fmtid="{D5CDD505-2E9C-101B-9397-08002B2CF9AE}" pid="7" name="MSIP_Label_980f36f3-41a5-4f45-a6a2-e224f336accd_SiteId">
    <vt:lpwstr>7a082108-90dd-41ac-be41-9b8feabee2da</vt:lpwstr>
  </property>
  <property fmtid="{D5CDD505-2E9C-101B-9397-08002B2CF9AE}" pid="8" name="MSIP_Label_980f36f3-41a5-4f45-a6a2-e224f336accd_ActionId">
    <vt:lpwstr>af7ad322-7bcd-4cac-ad82-aab1ad8c4313</vt:lpwstr>
  </property>
  <property fmtid="{D5CDD505-2E9C-101B-9397-08002B2CF9AE}" pid="9" name="MSIP_Label_980f36f3-41a5-4f45-a6a2-e224f336accd_ContentBits">
    <vt:lpwstr>2</vt:lpwstr>
  </property>
</Properties>
</file>